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2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85" r:id="rId5"/>
    <p:sldId id="2147480255" r:id="rId6"/>
    <p:sldId id="2147480249" r:id="rId7"/>
    <p:sldId id="2147480250" r:id="rId8"/>
    <p:sldId id="2147480254" r:id="rId9"/>
    <p:sldId id="2147480252" r:id="rId10"/>
    <p:sldId id="2147480253" r:id="rId11"/>
    <p:sldId id="2147480245" r:id="rId12"/>
    <p:sldId id="2147480256" r:id="rId13"/>
    <p:sldId id="2147480257" r:id="rId14"/>
    <p:sldId id="2147480244" r:id="rId15"/>
    <p:sldId id="279" r:id="rId16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47735" autoAdjust="0"/>
  </p:normalViewPr>
  <p:slideViewPr>
    <p:cSldViewPr snapToGrid="0">
      <p:cViewPr varScale="1">
        <p:scale>
          <a:sx n="72" d="100"/>
          <a:sy n="72" d="100"/>
        </p:scale>
        <p:origin x="348" y="36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rine Sejersen-Permin" userId="a0df1444-a189-4c4b-acb4-ef9da0f061a3" providerId="ADAL" clId="{63741DEB-6C84-4FD2-A44A-900EE980ABEB}"/>
    <pc:docChg chg="modSld">
      <pc:chgData name="Katrine Sejersen-Permin" userId="a0df1444-a189-4c4b-acb4-ef9da0f061a3" providerId="ADAL" clId="{63741DEB-6C84-4FD2-A44A-900EE980ABEB}" dt="2024-09-25T08:50:36.627" v="0" actId="1076"/>
      <pc:docMkLst>
        <pc:docMk/>
      </pc:docMkLst>
      <pc:sldChg chg="modSp mod">
        <pc:chgData name="Katrine Sejersen-Permin" userId="a0df1444-a189-4c4b-acb4-ef9da0f061a3" providerId="ADAL" clId="{63741DEB-6C84-4FD2-A44A-900EE980ABEB}" dt="2024-09-25T08:50:36.627" v="0" actId="1076"/>
        <pc:sldMkLst>
          <pc:docMk/>
          <pc:sldMk cId="1728173381" sldId="2147480257"/>
        </pc:sldMkLst>
        <pc:picChg chg="mod">
          <ac:chgData name="Katrine Sejersen-Permin" userId="a0df1444-a189-4c4b-acb4-ef9da0f061a3" providerId="ADAL" clId="{63741DEB-6C84-4FD2-A44A-900EE980ABEB}" dt="2024-09-25T08:50:36.627" v="0" actId="1076"/>
          <ac:picMkLst>
            <pc:docMk/>
            <pc:sldMk cId="1728173381" sldId="2147480257"/>
            <ac:picMk id="5" creationId="{22D818FA-986B-495B-FB0C-EF0845195003}"/>
          </ac:picMkLst>
        </pc:picChg>
      </pc:sldChg>
    </pc:docChg>
  </pc:docChgLst>
  <pc:docChgLst>
    <pc:chgData name="Katrine Sejersen-Permin" userId="a0df1444-a189-4c4b-acb4-ef9da0f061a3" providerId="ADAL" clId="{B4BE5FB8-C9C6-459F-950E-2325B3A0F8BD}"/>
    <pc:docChg chg="modSld">
      <pc:chgData name="Katrine Sejersen-Permin" userId="a0df1444-a189-4c4b-acb4-ef9da0f061a3" providerId="ADAL" clId="{B4BE5FB8-C9C6-459F-950E-2325B3A0F8BD}" dt="2024-10-31T08:37:13.001" v="1" actId="20577"/>
      <pc:docMkLst>
        <pc:docMk/>
      </pc:docMkLst>
      <pc:sldChg chg="modSp mod">
        <pc:chgData name="Katrine Sejersen-Permin" userId="a0df1444-a189-4c4b-acb4-ef9da0f061a3" providerId="ADAL" clId="{B4BE5FB8-C9C6-459F-950E-2325B3A0F8BD}" dt="2024-10-31T08:37:13.001" v="1" actId="20577"/>
        <pc:sldMkLst>
          <pc:docMk/>
          <pc:sldMk cId="2871441608" sldId="2147480252"/>
        </pc:sldMkLst>
        <pc:spChg chg="mod">
          <ac:chgData name="Katrine Sejersen-Permin" userId="a0df1444-a189-4c4b-acb4-ef9da0f061a3" providerId="ADAL" clId="{B4BE5FB8-C9C6-459F-950E-2325B3A0F8BD}" dt="2024-10-31T08:37:13.001" v="1" actId="20577"/>
          <ac:spMkLst>
            <pc:docMk/>
            <pc:sldMk cId="2871441608" sldId="2147480252"/>
            <ac:spMk id="4" creationId="{80A75D5F-8D57-A85C-F664-CD5C2F72019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74B8C7-FF73-41CB-8F69-1D3419BEE398}" type="datetimeFigureOut">
              <a:rPr lang="en-GB" smtClean="0"/>
              <a:t>31/10/2024</a:t>
            </a:fld>
            <a:endParaRPr lang="en-GB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D45083-D743-4564-9E19-903FBBB7721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27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ppension.dk/om-ap-pension/diverse/ap-life/bestil-ap-lif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taz-webepied101.appension.local/om-ap-pension/diverse/ap-life/leder-og-hr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D45083-D743-4564-9E19-903FBBB772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067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D45083-D743-4564-9E19-903FBBB7721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126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92D9-BA03-4168-B458-9EC629F776B8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760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92D9-BA03-4168-B458-9EC629F776B8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4244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292D9-BA03-4168-B458-9EC629F776B8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332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="1" dirty="0"/>
              <a:t>Mere information om AP Life</a:t>
            </a:r>
          </a:p>
          <a:p>
            <a:r>
              <a:rPr lang="da-DK" b="0" i="0" dirty="0">
                <a:effectLst/>
                <a:highlight>
                  <a:srgbClr val="F5F5F5"/>
                </a:highlight>
                <a:latin typeface="Verdana" panose="020B0604030504040204" pitchFamily="34" charset="0"/>
                <a:hlinkClick r:id="rId3"/>
              </a:rPr>
              <a:t>https://appension.dk/om-ap-pension/diverse/ap-life/bestil-ap-life</a:t>
            </a:r>
            <a:endParaRPr lang="da-DK" dirty="0"/>
          </a:p>
          <a:p>
            <a:endParaRPr lang="da-DK" dirty="0"/>
          </a:p>
          <a:p>
            <a:r>
              <a:rPr lang="da-DK" b="1" dirty="0"/>
              <a:t>Viden og værktøjer om fysisk og mental sundhed</a:t>
            </a:r>
          </a:p>
          <a:p>
            <a:r>
              <a:rPr lang="da-DK" b="0" i="0" dirty="0">
                <a:effectLst/>
                <a:highlight>
                  <a:srgbClr val="F5F5F5"/>
                </a:highlight>
                <a:latin typeface="Verdana" panose="020B0604030504040204" pitchFamily="34" charset="0"/>
                <a:hlinkClick r:id="rId4"/>
              </a:rPr>
              <a:t>https://taz-webepied101.appension.local/om-ap-pension/diverse/ap-life/leder-og-hr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D45083-D743-4564-9E19-903FBBB7721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227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9888" y="5137200"/>
            <a:ext cx="11453812" cy="1540800"/>
          </a:xfrm>
          <a:prstGeom prst="rect">
            <a:avLst/>
          </a:prstGeom>
        </p:spPr>
        <p:txBody>
          <a:bodyPr lIns="0" tIns="0" rIns="0" anchor="t" anchorCtr="0"/>
          <a:lstStyle>
            <a:lvl1pPr marL="0" indent="0" algn="l">
              <a:lnSpc>
                <a:spcPct val="100000"/>
              </a:lnSpc>
              <a:tabLst>
                <a:tab pos="0" algn="l"/>
              </a:tabLst>
              <a:defRPr sz="5000" b="1"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55E15B4F-E0F4-4A4E-A6AF-95EB1C8BA3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9888" y="377825"/>
            <a:ext cx="11453812" cy="4581037"/>
          </a:xfrm>
          <a:prstGeom prst="rect">
            <a:avLst/>
          </a:prstGeom>
          <a:solidFill>
            <a:srgbClr val="F2F2F2"/>
          </a:solidFill>
        </p:spPr>
        <p:txBody>
          <a:bodyPr lIns="0" tIns="180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/>
              <a:t>Klik på pladsholderen og indsæt billede via Image Shopper</a:t>
            </a:r>
          </a:p>
        </p:txBody>
      </p:sp>
      <p:sp>
        <p:nvSpPr>
          <p:cNvPr id="14" name="Logo Placeholder 9">
            <a:extLst>
              <a:ext uri="{FF2B5EF4-FFF2-40B4-BE49-F238E27FC236}">
                <a16:creationId xmlns:a16="http://schemas.microsoft.com/office/drawing/2014/main" id="{9958D0FC-A493-4C6C-886E-638CFC412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440" y="180000"/>
            <a:ext cx="1260000" cy="1260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5542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94B814-F6D3-437B-B304-3D9B2ACF40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3200" y="378000"/>
            <a:ext cx="5440363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2E972F8-D0C0-4B3A-9980-BD301EC824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390401"/>
            <a:ext cx="5440363" cy="39215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Char char="​"/>
              <a:defRPr sz="3000"/>
            </a:lvl1pPr>
            <a:lvl2pPr marL="230400">
              <a:defRPr sz="1600"/>
            </a:lvl2pPr>
            <a:lvl3pPr marL="460800">
              <a:defRPr sz="1400"/>
            </a:lvl3pPr>
            <a:lvl4pPr marL="691200" indent="-230400">
              <a:buFont typeface="Arial" panose="020B0604020202020204" pitchFamily="34" charset="0"/>
              <a:buChar char="•"/>
              <a:defRPr sz="1200" b="0"/>
            </a:lvl4pPr>
            <a:lvl5pPr>
              <a:defRPr b="1"/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Char char="​"/>
              <a:defRPr sz="1600"/>
            </a:lvl6pPr>
            <a:lvl7pPr marL="230400" indent="-230400">
              <a:buFont typeface="Arial" panose="020B0604020202020204" pitchFamily="34" charset="0"/>
              <a:buChar char="•"/>
              <a:defRPr b="0"/>
            </a:lvl7pPr>
            <a:lvl8pPr>
              <a:defRPr b="1"/>
            </a:lvl8pPr>
            <a:lvl9pPr>
              <a:lnSpc>
                <a:spcPct val="105000"/>
              </a:lnSpc>
              <a:defRPr sz="1100"/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A7F9970C-126B-4088-A139-70D185EFC5E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65950" y="0"/>
            <a:ext cx="5226050" cy="6858000"/>
          </a:xfrm>
          <a:prstGeom prst="rect">
            <a:avLst/>
          </a:prstGeom>
          <a:solidFill>
            <a:srgbClr val="F2F2F2"/>
          </a:solidFill>
        </p:spPr>
        <p:txBody>
          <a:bodyPr lIns="432000" tIns="180000" rIns="43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/>
              <a:t>Klik på pladsholderen og indsæt billede via Image Shopper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28336E0F-F6C1-431F-99F4-F672159900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cxnSp>
        <p:nvCxnSpPr>
          <p:cNvPr id="3" name="Lige forbindelse 23">
            <a:extLst>
              <a:ext uri="{FF2B5EF4-FFF2-40B4-BE49-F238E27FC236}">
                <a16:creationId xmlns:a16="http://schemas.microsoft.com/office/drawing/2014/main" id="{A75F0219-ABF9-EE39-0771-E832B0B20D49}"/>
              </a:ext>
            </a:extLst>
          </p:cNvPr>
          <p:cNvCxnSpPr>
            <a:cxnSpLocks/>
          </p:cNvCxnSpPr>
          <p:nvPr userDrawn="1"/>
        </p:nvCxnSpPr>
        <p:spPr>
          <a:xfrm flipV="1">
            <a:off x="763200" y="1989908"/>
            <a:ext cx="5439600" cy="1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88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388">
          <p15:clr>
            <a:srgbClr val="A4A3A4"/>
          </p15:clr>
        </p15:guide>
        <p15:guide id="7" pos="3907">
          <p15:clr>
            <a:srgbClr val="A4A3A4"/>
          </p15:clr>
        </p15:guide>
        <p15:guide id="9" orient="horz" pos="1031">
          <p15:clr>
            <a:srgbClr val="A4A3A4"/>
          </p15:clr>
        </p15:guide>
        <p15:guide id="10" orient="horz" pos="150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228786C8-2D54-4566-858B-2E2A9BB85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0400" y="378000"/>
            <a:ext cx="5439600" cy="1260000"/>
          </a:xfrm>
          <a:prstGeom prst="rect">
            <a:avLst/>
          </a:prstGeom>
        </p:spPr>
        <p:txBody>
          <a:bodyPr lIns="0" tIns="16200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132E4EE-A47F-4B40-8565-DEFCD2ABA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90400" y="2480401"/>
            <a:ext cx="5439600" cy="38315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A7F9970C-126B-4088-A139-70D185EFC5E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27200" cy="6858000"/>
          </a:xfrm>
          <a:prstGeom prst="rect">
            <a:avLst/>
          </a:prstGeom>
          <a:solidFill>
            <a:srgbClr val="F2F2F2"/>
          </a:solidFill>
        </p:spPr>
        <p:txBody>
          <a:bodyPr lIns="432000" tIns="180000" rIns="43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/>
              <a:t>Klik på pladsholderen og indsæt billede via Image Shopper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F67C50E4-2E34-4339-9B72-8C2CE744504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cxnSp>
        <p:nvCxnSpPr>
          <p:cNvPr id="2" name="Lige forbindelse 23">
            <a:extLst>
              <a:ext uri="{FF2B5EF4-FFF2-40B4-BE49-F238E27FC236}">
                <a16:creationId xmlns:a16="http://schemas.microsoft.com/office/drawing/2014/main" id="{38D53448-434F-28FF-A6E4-80D6EFDC948B}"/>
              </a:ext>
            </a:extLst>
          </p:cNvPr>
          <p:cNvCxnSpPr>
            <a:cxnSpLocks/>
          </p:cNvCxnSpPr>
          <p:nvPr userDrawn="1"/>
        </p:nvCxnSpPr>
        <p:spPr>
          <a:xfrm>
            <a:off x="5990400" y="1990317"/>
            <a:ext cx="5439600" cy="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02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292">
          <p15:clr>
            <a:srgbClr val="A4A3A4"/>
          </p15:clr>
        </p15:guide>
        <p15:guide id="7" pos="3773">
          <p15:clr>
            <a:srgbClr val="A4A3A4"/>
          </p15:clr>
        </p15:guide>
        <p15:guide id="9" orient="horz" pos="1031">
          <p15:clr>
            <a:srgbClr val="A4A3A4"/>
          </p15:clr>
        </p15:guide>
        <p15:guide id="10" orient="horz" pos="1562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punktform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94B814-F6D3-437B-B304-3D9B2ACF40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3200" y="378000"/>
            <a:ext cx="5439600" cy="1260000"/>
          </a:xfrm>
          <a:prstGeom prst="rect">
            <a:avLst/>
          </a:prstGeom>
        </p:spPr>
        <p:txBody>
          <a:bodyPr lIns="0" tIns="16200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2E972F8-D0C0-4B3A-9980-BD301EC824A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3200" y="2480401"/>
            <a:ext cx="5439600" cy="38315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A7F9970C-126B-4088-A139-70D185EFC5E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65950" y="0"/>
            <a:ext cx="5226050" cy="6858000"/>
          </a:xfrm>
          <a:prstGeom prst="rect">
            <a:avLst/>
          </a:prstGeom>
          <a:solidFill>
            <a:srgbClr val="F2F2F2"/>
          </a:solidFill>
        </p:spPr>
        <p:txBody>
          <a:bodyPr lIns="432000" tIns="180000" rIns="43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/>
              <a:t>Klik på pladsholderen og indsæt billede via Image Shopper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28336E0F-F6C1-431F-99F4-F672159900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cxnSp>
        <p:nvCxnSpPr>
          <p:cNvPr id="3" name="Lige forbindelse 23">
            <a:extLst>
              <a:ext uri="{FF2B5EF4-FFF2-40B4-BE49-F238E27FC236}">
                <a16:creationId xmlns:a16="http://schemas.microsoft.com/office/drawing/2014/main" id="{C075675B-370F-2940-1D2E-DEE247A53E4A}"/>
              </a:ext>
            </a:extLst>
          </p:cNvPr>
          <p:cNvCxnSpPr>
            <a:cxnSpLocks/>
          </p:cNvCxnSpPr>
          <p:nvPr userDrawn="1"/>
        </p:nvCxnSpPr>
        <p:spPr>
          <a:xfrm>
            <a:off x="763200" y="1990317"/>
            <a:ext cx="5439600" cy="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4098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907">
          <p15:clr>
            <a:srgbClr val="A4A3A4"/>
          </p15:clr>
        </p15:guide>
        <p15:guide id="7" pos="4388">
          <p15:clr>
            <a:srgbClr val="A4A3A4"/>
          </p15:clr>
        </p15:guide>
        <p15:guide id="8" orient="horz" pos="1562">
          <p15:clr>
            <a:srgbClr val="A4A3A4"/>
          </p15:clr>
        </p15:guide>
        <p15:guide id="9" orient="horz" pos="103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ggrund">
            <a:extLst>
              <a:ext uri="{FF2B5EF4-FFF2-40B4-BE49-F238E27FC236}">
                <a16:creationId xmlns:a16="http://schemas.microsoft.com/office/drawing/2014/main" id="{ED72B340-36B2-436F-06AF-44593F5C3DA0}"/>
              </a:ext>
            </a:extLst>
          </p:cNvPr>
          <p:cNvSpPr/>
          <p:nvPr userDrawn="1"/>
        </p:nvSpPr>
        <p:spPr>
          <a:xfrm>
            <a:off x="0" y="0"/>
            <a:ext cx="6965950" cy="685799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5" name="Baggrund">
            <a:extLst>
              <a:ext uri="{FF2B5EF4-FFF2-40B4-BE49-F238E27FC236}">
                <a16:creationId xmlns:a16="http://schemas.microsoft.com/office/drawing/2014/main" id="{BBBDD34A-CFD3-048B-3F3F-7ACDD4B16F88}"/>
              </a:ext>
            </a:extLst>
          </p:cNvPr>
          <p:cNvSpPr/>
          <p:nvPr userDrawn="1"/>
        </p:nvSpPr>
        <p:spPr>
          <a:xfrm rot="16200000">
            <a:off x="6609647" y="734302"/>
            <a:ext cx="5938657" cy="5226051"/>
          </a:xfrm>
          <a:prstGeom prst="rect">
            <a:avLst/>
          </a:prstGeom>
          <a:solidFill>
            <a:srgbClr val="FF4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82A357C7-BC8F-D872-A977-153BA14D395E}"/>
              </a:ext>
            </a:extLst>
          </p:cNvPr>
          <p:cNvSpPr>
            <a:spLocks/>
          </p:cNvSpPr>
          <p:nvPr userDrawn="1"/>
        </p:nvSpPr>
        <p:spPr>
          <a:xfrm>
            <a:off x="7891415" y="1741557"/>
            <a:ext cx="3375120" cy="3374886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94B814-F6D3-437B-B304-3D9B2ACF40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3199" y="378000"/>
            <a:ext cx="5439600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6D071B60-5BC5-4F28-BA92-1B69573489C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63200" y="2390400"/>
            <a:ext cx="5439600" cy="3926259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11000"/>
              </a:lnSpc>
              <a:spcBef>
                <a:spcPts val="0"/>
              </a:spcBef>
              <a:buNone/>
              <a:defRPr sz="30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28336E0F-F6C1-431F-99F4-F672159900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B154D1B-6BAB-5E59-FD75-1E109F8BE8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515172" y="2381250"/>
            <a:ext cx="2095678" cy="2116138"/>
          </a:xfr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</p:spTree>
    <p:extLst>
      <p:ext uri="{BB962C8B-B14F-4D97-AF65-F5344CB8AC3E}">
        <p14:creationId xmlns:p14="http://schemas.microsoft.com/office/powerpoint/2010/main" val="2851267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3907">
          <p15:clr>
            <a:srgbClr val="A4A3A4"/>
          </p15:clr>
        </p15:guide>
        <p15:guide id="10" pos="4388">
          <p15:clr>
            <a:srgbClr val="A4A3A4"/>
          </p15:clr>
        </p15:guide>
        <p15:guide id="11" orient="horz" pos="1505">
          <p15:clr>
            <a:srgbClr val="A4A3A4"/>
          </p15:clr>
        </p15:guide>
        <p15:guide id="12" orient="horz" pos="103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baggrund">
            <a:extLst>
              <a:ext uri="{FF2B5EF4-FFF2-40B4-BE49-F238E27FC236}">
                <a16:creationId xmlns:a16="http://schemas.microsoft.com/office/drawing/2014/main" id="{4D78B5A0-E677-BA09-E057-899E017FD5D8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4"/>
            <a:ext cx="10668000" cy="1260000"/>
          </a:xfrm>
          <a:prstGeom prst="rect">
            <a:avLst/>
          </a:prstGeom>
          <a:noFill/>
        </p:spPr>
        <p:txBody>
          <a:bodyPr tIns="162000"/>
          <a:lstStyle>
            <a:lvl1pPr marL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3200" y="2592001"/>
            <a:ext cx="10666800" cy="37199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11000"/>
              </a:lnSpc>
              <a:spcBef>
                <a:spcPts val="0"/>
              </a:spcBef>
              <a:buNone/>
              <a:defRPr sz="3000"/>
            </a:lvl1pPr>
            <a:lvl4pPr>
              <a:defRPr/>
            </a:lvl4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88566CBC-C46D-4420-8C76-BF6097C8F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6693FD75-1C86-4A70-B6A3-84B6EA9079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2058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2">
          <p15:clr>
            <a:srgbClr val="A4A3A4"/>
          </p15:clr>
        </p15:guide>
        <p15:guide id="2" orient="horz" pos="1632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med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ggrund 1">
            <a:extLst>
              <a:ext uri="{FF2B5EF4-FFF2-40B4-BE49-F238E27FC236}">
                <a16:creationId xmlns:a16="http://schemas.microsoft.com/office/drawing/2014/main" id="{E01DE775-5B29-FE96-375F-786DAB14A56F}"/>
              </a:ext>
            </a:extLst>
          </p:cNvPr>
          <p:cNvSpPr/>
          <p:nvPr userDrawn="1"/>
        </p:nvSpPr>
        <p:spPr>
          <a:xfrm>
            <a:off x="370799" y="3118700"/>
            <a:ext cx="55764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4" name="Baggrund 2">
            <a:extLst>
              <a:ext uri="{FF2B5EF4-FFF2-40B4-BE49-F238E27FC236}">
                <a16:creationId xmlns:a16="http://schemas.microsoft.com/office/drawing/2014/main" id="{4F274769-B4B9-905D-09CA-2C9795DA5B78}"/>
              </a:ext>
            </a:extLst>
          </p:cNvPr>
          <p:cNvSpPr/>
          <p:nvPr userDrawn="1"/>
        </p:nvSpPr>
        <p:spPr>
          <a:xfrm>
            <a:off x="6247633" y="3118700"/>
            <a:ext cx="55764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16" name="Ikon baggrund">
            <a:extLst>
              <a:ext uri="{FF2B5EF4-FFF2-40B4-BE49-F238E27FC236}">
                <a16:creationId xmlns:a16="http://schemas.microsoft.com/office/drawing/2014/main" id="{613976DE-9CF3-3D11-D628-FD3FFB53A3B8}"/>
              </a:ext>
            </a:extLst>
          </p:cNvPr>
          <p:cNvSpPr>
            <a:spLocks/>
          </p:cNvSpPr>
          <p:nvPr userDrawn="1"/>
        </p:nvSpPr>
        <p:spPr>
          <a:xfrm>
            <a:off x="2456999" y="2418319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Ikon baggrund">
            <a:extLst>
              <a:ext uri="{FF2B5EF4-FFF2-40B4-BE49-F238E27FC236}">
                <a16:creationId xmlns:a16="http://schemas.microsoft.com/office/drawing/2014/main" id="{BB66EF17-E358-22B3-8CA8-A694F6DB4B6D}"/>
              </a:ext>
            </a:extLst>
          </p:cNvPr>
          <p:cNvSpPr>
            <a:spLocks/>
          </p:cNvSpPr>
          <p:nvPr userDrawn="1"/>
        </p:nvSpPr>
        <p:spPr>
          <a:xfrm>
            <a:off x="8333833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cxnSp>
        <p:nvCxnSpPr>
          <p:cNvPr id="7" name="Lige forbindelse 10">
            <a:extLst>
              <a:ext uri="{FF2B5EF4-FFF2-40B4-BE49-F238E27FC236}">
                <a16:creationId xmlns:a16="http://schemas.microsoft.com/office/drawing/2014/main" id="{D2867312-3D68-B992-4058-6A1A4318518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1200" y="3118700"/>
            <a:ext cx="8237" cy="319320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721549B-0E5D-41E2-A01E-5F37673AB48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8849" y="4186238"/>
            <a:ext cx="4940300" cy="199422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1pPr>
            <a:lvl2pPr marL="460800">
              <a:defRPr sz="1400">
                <a:solidFill>
                  <a:schemeClr val="tx1"/>
                </a:solidFill>
              </a:defRPr>
            </a:lvl2pPr>
            <a:lvl3pPr marL="691200"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F7442C4-1B95-4666-B113-0C03EDBCE46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565683" y="4186238"/>
            <a:ext cx="4940300" cy="199422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1pPr>
            <a:lvl2pPr marL="460800">
              <a:defRPr sz="1400">
                <a:solidFill>
                  <a:schemeClr val="tx1"/>
                </a:solidFill>
              </a:defRPr>
            </a:lvl2pPr>
            <a:lvl3pPr marL="691200"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Pladsholder til tekst 11">
            <a:extLst>
              <a:ext uri="{FF2B5EF4-FFF2-40B4-BE49-F238E27FC236}">
                <a16:creationId xmlns:a16="http://schemas.microsoft.com/office/drawing/2014/main" id="{315D49D1-2229-4877-A8E5-F2C6AA66E6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199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B3D2E77-5781-449A-9957-37180F9690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7974E0A-20FB-69F8-E9C4-216B52796B0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8594356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641E386-90E2-BD38-2424-EE0081C57DE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717522" y="2678842"/>
            <a:ext cx="882955" cy="882955"/>
          </a:xfrm>
        </p:spPr>
        <p:txBody>
          <a:bodyPr wrap="none" lIns="0" r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</p:spTree>
    <p:extLst>
      <p:ext uri="{BB962C8B-B14F-4D97-AF65-F5344CB8AC3E}">
        <p14:creationId xmlns:p14="http://schemas.microsoft.com/office/powerpoint/2010/main" val="2324036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2637">
          <p15:clr>
            <a:srgbClr val="A4A3A4"/>
          </p15:clr>
        </p15:guide>
        <p15:guide id="9" orient="horz" pos="1031">
          <p15:clr>
            <a:srgbClr val="A4A3A4"/>
          </p15:clr>
        </p15:guide>
        <p15:guide id="10" orient="horz" pos="168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baggrund">
            <a:extLst>
              <a:ext uri="{FF2B5EF4-FFF2-40B4-BE49-F238E27FC236}">
                <a16:creationId xmlns:a16="http://schemas.microsoft.com/office/drawing/2014/main" id="{664251DD-F746-7EF8-E229-1532674EBD2F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56F058E-3B60-439A-8182-4A97556895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2664000"/>
            <a:ext cx="4940300" cy="36479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rgbClr val="000000"/>
                </a:solidFill>
              </a:defRPr>
            </a:lvl1pPr>
            <a:lvl2pPr marL="460800">
              <a:defRPr sz="1400">
                <a:solidFill>
                  <a:srgbClr val="000000"/>
                </a:solidFill>
              </a:defRPr>
            </a:lvl2pPr>
            <a:lvl3pPr marL="691200">
              <a:defRPr sz="1200">
                <a:solidFill>
                  <a:srgbClr val="000000"/>
                </a:solidFill>
              </a:defRPr>
            </a:lvl3pPr>
            <a:lvl4pPr>
              <a:defRPr>
                <a:solidFill>
                  <a:srgbClr val="FF4D1D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FF4D1D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92E1C71-A40F-491E-AD7A-BDEF83B4DD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89703" y="2664001"/>
            <a:ext cx="4940298" cy="36479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rgbClr val="000000"/>
                </a:solidFill>
              </a:defRPr>
            </a:lvl1pPr>
            <a:lvl2pPr marL="460800">
              <a:defRPr sz="1400">
                <a:solidFill>
                  <a:srgbClr val="000000"/>
                </a:solidFill>
              </a:defRPr>
            </a:lvl2pPr>
            <a:lvl3pPr marL="691200">
              <a:defRPr sz="1200">
                <a:solidFill>
                  <a:srgbClr val="000000"/>
                </a:solidFill>
              </a:defRPr>
            </a:lvl3pPr>
            <a:lvl4pPr>
              <a:defRPr>
                <a:solidFill>
                  <a:srgbClr val="FF4D1D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FF4D1D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DB65E346-D961-4174-BF24-63F754C345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5E1E19B-1855-4420-80C2-D1244820C14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cxnSp>
        <p:nvCxnSpPr>
          <p:cNvPr id="7" name="Lige forbindelse 13">
            <a:extLst>
              <a:ext uri="{FF2B5EF4-FFF2-40B4-BE49-F238E27FC236}">
                <a16:creationId xmlns:a16="http://schemas.microsoft.com/office/drawing/2014/main" id="{DB6F2AB8-9A3B-33F5-E9B9-E3D4F3104D82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1200" y="2664000"/>
            <a:ext cx="0" cy="355320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0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A4A3A4"/>
          </p15:clr>
        </p15:guide>
        <p15:guide id="6" orient="horz" pos="1292">
          <p15:clr>
            <a:srgbClr val="A4A3A4"/>
          </p15:clr>
        </p15:guide>
        <p15:guide id="7" orient="horz" pos="1678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punktfo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baggrund">
            <a:extLst>
              <a:ext uri="{FF2B5EF4-FFF2-40B4-BE49-F238E27FC236}">
                <a16:creationId xmlns:a16="http://schemas.microsoft.com/office/drawing/2014/main" id="{CD1C8210-4796-AD64-906D-47B66A15A034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90" y="377825"/>
            <a:ext cx="1066691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56F058E-3B60-439A-8182-4A97556895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3090" y="2663825"/>
            <a:ext cx="10666910" cy="36480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DB65E346-D961-4174-BF24-63F754C345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090" y="6454199"/>
            <a:ext cx="764431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5E1E19B-1855-4420-80C2-D1244820C14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85926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292">
          <p15:clr>
            <a:srgbClr val="A4A3A4"/>
          </p15:clr>
        </p15:guide>
        <p15:guide id="7" orient="horz" pos="1678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 punktform i to ræk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baggrund">
            <a:extLst>
              <a:ext uri="{FF2B5EF4-FFF2-40B4-BE49-F238E27FC236}">
                <a16:creationId xmlns:a16="http://schemas.microsoft.com/office/drawing/2014/main" id="{68C933D6-B798-CAB5-41AC-05951C4773E9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56F058E-3B60-439A-8182-4A97556895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3200" y="2664000"/>
            <a:ext cx="4939100" cy="3647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92E1C71-A40F-491E-AD7A-BDEF83B4DD4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89700" y="2664000"/>
            <a:ext cx="4940299" cy="3647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DB65E346-D961-4174-BF24-63F754C345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5E1E19B-1855-4420-80C2-D1244820C14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8157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A4A3A4"/>
          </p15:clr>
        </p15:guide>
        <p15:guide id="6" orient="horz" pos="1292">
          <p15:clr>
            <a:srgbClr val="A4A3A4"/>
          </p15:clr>
        </p15:guide>
        <p15:guide id="7" orient="horz" pos="167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s- objekter med ikon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7">
            <a:extLst>
              <a:ext uri="{FF2B5EF4-FFF2-40B4-BE49-F238E27FC236}">
                <a16:creationId xmlns:a16="http://schemas.microsoft.com/office/drawing/2014/main" id="{21976BC2-2220-05C2-9FCC-8AD2BC6FBE9D}"/>
              </a:ext>
            </a:extLst>
          </p:cNvPr>
          <p:cNvSpPr/>
          <p:nvPr userDrawn="1"/>
        </p:nvSpPr>
        <p:spPr>
          <a:xfrm>
            <a:off x="369888" y="3117600"/>
            <a:ext cx="3614400" cy="3194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4" name="Rektangel 8">
            <a:extLst>
              <a:ext uri="{FF2B5EF4-FFF2-40B4-BE49-F238E27FC236}">
                <a16:creationId xmlns:a16="http://schemas.microsoft.com/office/drawing/2014/main" id="{A0D67A2B-74C2-1926-0534-8E1446900F6B}"/>
              </a:ext>
            </a:extLst>
          </p:cNvPr>
          <p:cNvSpPr/>
          <p:nvPr userDrawn="1"/>
        </p:nvSpPr>
        <p:spPr>
          <a:xfrm>
            <a:off x="4288800" y="3117600"/>
            <a:ext cx="3614400" cy="3194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3" name="Rektangel 9">
            <a:extLst>
              <a:ext uri="{FF2B5EF4-FFF2-40B4-BE49-F238E27FC236}">
                <a16:creationId xmlns:a16="http://schemas.microsoft.com/office/drawing/2014/main" id="{893B96CA-64D7-2640-1B38-BCCC57E64FB0}"/>
              </a:ext>
            </a:extLst>
          </p:cNvPr>
          <p:cNvSpPr/>
          <p:nvPr userDrawn="1"/>
        </p:nvSpPr>
        <p:spPr>
          <a:xfrm>
            <a:off x="8210600" y="3117600"/>
            <a:ext cx="3613100" cy="3194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cxnSp>
        <p:nvCxnSpPr>
          <p:cNvPr id="6" name="Lige forbindelse 10">
            <a:extLst>
              <a:ext uri="{FF2B5EF4-FFF2-40B4-BE49-F238E27FC236}">
                <a16:creationId xmlns:a16="http://schemas.microsoft.com/office/drawing/2014/main" id="{54B0046C-C65B-A1AB-C1C4-00932C89D6C9}"/>
              </a:ext>
            </a:extLst>
          </p:cNvPr>
          <p:cNvCxnSpPr>
            <a:cxnSpLocks/>
          </p:cNvCxnSpPr>
          <p:nvPr userDrawn="1"/>
        </p:nvCxnSpPr>
        <p:spPr>
          <a:xfrm flipV="1">
            <a:off x="4136400" y="3117600"/>
            <a:ext cx="0" cy="3194522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7" name="Lige forbindelse 11">
            <a:extLst>
              <a:ext uri="{FF2B5EF4-FFF2-40B4-BE49-F238E27FC236}">
                <a16:creationId xmlns:a16="http://schemas.microsoft.com/office/drawing/2014/main" id="{A33A8045-7894-7255-6E9D-462941CEBE0C}"/>
              </a:ext>
            </a:extLst>
          </p:cNvPr>
          <p:cNvCxnSpPr>
            <a:cxnSpLocks/>
          </p:cNvCxnSpPr>
          <p:nvPr userDrawn="1"/>
        </p:nvCxnSpPr>
        <p:spPr>
          <a:xfrm flipV="1">
            <a:off x="8054672" y="3117600"/>
            <a:ext cx="0" cy="3194522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7998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5FB2157-9FFB-4734-93AD-55FA1712CA2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76800" y="4035425"/>
            <a:ext cx="3022600" cy="203000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460800">
              <a:defRPr sz="1400"/>
            </a:lvl2pPr>
            <a:lvl3pPr marL="691200">
              <a:defRPr sz="1200"/>
            </a:lvl3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8A51D77-9409-43DA-908E-13F5B02DB4B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84700" y="4035425"/>
            <a:ext cx="3022100" cy="203001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460800">
              <a:defRPr sz="1400"/>
            </a:lvl2pPr>
            <a:lvl3pPr marL="691200">
              <a:defRPr sz="1200"/>
            </a:lvl3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A90A130B-6152-44ED-8F72-9431E110B31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492400" y="4035425"/>
            <a:ext cx="3022600" cy="203001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460800">
              <a:defRPr sz="1400"/>
            </a:lvl2pPr>
            <a:lvl3pPr marL="691200">
              <a:defRPr sz="1200"/>
            </a:lvl3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ladsholder til tekst 11">
            <a:extLst>
              <a:ext uri="{FF2B5EF4-FFF2-40B4-BE49-F238E27FC236}">
                <a16:creationId xmlns:a16="http://schemas.microsoft.com/office/drawing/2014/main" id="{3F3CFA43-9AFD-49BD-A2A5-9998695DE3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21" name="Ikon baggrund">
            <a:extLst>
              <a:ext uri="{FF2B5EF4-FFF2-40B4-BE49-F238E27FC236}">
                <a16:creationId xmlns:a16="http://schemas.microsoft.com/office/drawing/2014/main" id="{D3ECF8A0-0F74-DB43-2D76-9A5334FABD41}"/>
              </a:ext>
            </a:extLst>
          </p:cNvPr>
          <p:cNvSpPr>
            <a:spLocks/>
          </p:cNvSpPr>
          <p:nvPr userDrawn="1"/>
        </p:nvSpPr>
        <p:spPr>
          <a:xfrm>
            <a:off x="1486100" y="2418319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BF53E493-A04D-30E5-4AA6-B17A0CC9A33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746623" y="2678842"/>
            <a:ext cx="882955" cy="882955"/>
          </a:xfrm>
        </p:spPr>
        <p:txBody>
          <a:bodyPr wrap="none" lIns="0" r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9" name="Ikon baggrund">
            <a:extLst>
              <a:ext uri="{FF2B5EF4-FFF2-40B4-BE49-F238E27FC236}">
                <a16:creationId xmlns:a16="http://schemas.microsoft.com/office/drawing/2014/main" id="{5C0CB3AA-7DB4-E1FD-4FF0-44346B546E13}"/>
              </a:ext>
            </a:extLst>
          </p:cNvPr>
          <p:cNvSpPr>
            <a:spLocks/>
          </p:cNvSpPr>
          <p:nvPr userDrawn="1"/>
        </p:nvSpPr>
        <p:spPr>
          <a:xfrm>
            <a:off x="5394000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05E033C-E9F3-B3EA-52D3-3817646DBD2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54523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23" name="Ikon baggrund">
            <a:extLst>
              <a:ext uri="{FF2B5EF4-FFF2-40B4-BE49-F238E27FC236}">
                <a16:creationId xmlns:a16="http://schemas.microsoft.com/office/drawing/2014/main" id="{FCB99D2C-1393-6AF4-61D8-088B76244E90}"/>
              </a:ext>
            </a:extLst>
          </p:cNvPr>
          <p:cNvSpPr>
            <a:spLocks/>
          </p:cNvSpPr>
          <p:nvPr userDrawn="1"/>
        </p:nvSpPr>
        <p:spPr>
          <a:xfrm>
            <a:off x="9301700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4101949D-4F2A-478A-E8F1-98F17BAFC89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562223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45C3C02D-0467-4616-B3E9-0848CC6EED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90532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1">
          <p15:clr>
            <a:srgbClr val="A4A3A4"/>
          </p15:clr>
        </p15:guide>
        <p15:guide id="3" orient="horz" pos="1687">
          <p15:clr>
            <a:srgbClr val="A4A3A4"/>
          </p15:clr>
        </p15:guide>
        <p15:guide id="4" orient="horz" pos="3821">
          <p15:clr>
            <a:srgbClr val="A4A3A4"/>
          </p15:clr>
        </p15:guide>
        <p15:guide id="5" orient="horz" pos="2542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55E15B4F-E0F4-4A4E-A6AF-95EB1C8BA3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</p:spPr>
        <p:txBody>
          <a:bodyPr lIns="0" tIns="180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err="1"/>
              <a:t>Klik</a:t>
            </a:r>
            <a:r>
              <a:rPr lang="en-GB" noProof="0"/>
              <a:t> </a:t>
            </a:r>
            <a:r>
              <a:rPr lang="en-GB" noProof="0" err="1"/>
              <a:t>på</a:t>
            </a:r>
            <a:r>
              <a:rPr lang="en-GB" noProof="0"/>
              <a:t> </a:t>
            </a:r>
            <a:r>
              <a:rPr lang="en-GB" noProof="0" err="1"/>
              <a:t>pladsholderen</a:t>
            </a:r>
            <a:r>
              <a:rPr lang="en-GB" noProof="0"/>
              <a:t> </a:t>
            </a:r>
            <a:r>
              <a:rPr lang="en-GB" noProof="0" err="1"/>
              <a:t>og</a:t>
            </a:r>
            <a:r>
              <a:rPr lang="en-GB" noProof="0"/>
              <a:t> </a:t>
            </a:r>
            <a:r>
              <a:rPr lang="en-GB" noProof="0" err="1"/>
              <a:t>indsæt</a:t>
            </a:r>
            <a:r>
              <a:rPr lang="en-GB" noProof="0"/>
              <a:t> </a:t>
            </a:r>
            <a:r>
              <a:rPr lang="en-GB" noProof="0" err="1"/>
              <a:t>billede</a:t>
            </a:r>
            <a:r>
              <a:rPr lang="en-GB" noProof="0"/>
              <a:t> via Image Shopper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209139-A9E2-4128-A173-312C9464AD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2626" y="2890967"/>
            <a:ext cx="7584773" cy="1702465"/>
          </a:xfrm>
          <a:custGeom>
            <a:avLst/>
            <a:gdLst>
              <a:gd name="connsiteX0" fmla="*/ 0 w 7747709"/>
              <a:gd name="connsiteY0" fmla="*/ 0 h 3502800"/>
              <a:gd name="connsiteX1" fmla="*/ 7747709 w 7747709"/>
              <a:gd name="connsiteY1" fmla="*/ 0 h 3502800"/>
              <a:gd name="connsiteX2" fmla="*/ 7747709 w 7747709"/>
              <a:gd name="connsiteY2" fmla="*/ 3502800 h 3502800"/>
              <a:gd name="connsiteX3" fmla="*/ 0 w 7747709"/>
              <a:gd name="connsiteY3" fmla="*/ 3502800 h 3502800"/>
              <a:gd name="connsiteX4" fmla="*/ 0 w 7747709"/>
              <a:gd name="connsiteY4" fmla="*/ 0 h 3502800"/>
              <a:gd name="connsiteX0" fmla="*/ 0 w 7747709"/>
              <a:gd name="connsiteY0" fmla="*/ 3502800 h 3594240"/>
              <a:gd name="connsiteX1" fmla="*/ 0 w 7747709"/>
              <a:gd name="connsiteY1" fmla="*/ 0 h 3594240"/>
              <a:gd name="connsiteX2" fmla="*/ 7747709 w 7747709"/>
              <a:gd name="connsiteY2" fmla="*/ 0 h 3594240"/>
              <a:gd name="connsiteX3" fmla="*/ 7747709 w 7747709"/>
              <a:gd name="connsiteY3" fmla="*/ 3502800 h 3594240"/>
              <a:gd name="connsiteX4" fmla="*/ 91440 w 7747709"/>
              <a:gd name="connsiteY4" fmla="*/ 3594240 h 3594240"/>
              <a:gd name="connsiteX0" fmla="*/ 0 w 7747709"/>
              <a:gd name="connsiteY0" fmla="*/ 3502800 h 3502800"/>
              <a:gd name="connsiteX1" fmla="*/ 0 w 7747709"/>
              <a:gd name="connsiteY1" fmla="*/ 0 h 3502800"/>
              <a:gd name="connsiteX2" fmla="*/ 7747709 w 7747709"/>
              <a:gd name="connsiteY2" fmla="*/ 0 h 3502800"/>
              <a:gd name="connsiteX3" fmla="*/ 7747709 w 7747709"/>
              <a:gd name="connsiteY3" fmla="*/ 3502800 h 3502800"/>
              <a:gd name="connsiteX0" fmla="*/ 0 w 7747709"/>
              <a:gd name="connsiteY0" fmla="*/ 3502800 h 3502800"/>
              <a:gd name="connsiteX1" fmla="*/ 0 w 7747709"/>
              <a:gd name="connsiteY1" fmla="*/ 0 h 3502800"/>
              <a:gd name="connsiteX2" fmla="*/ 7747709 w 7747709"/>
              <a:gd name="connsiteY2" fmla="*/ 0 h 3502800"/>
              <a:gd name="connsiteX0" fmla="*/ 0 w 0"/>
              <a:gd name="connsiteY0" fmla="*/ 3502800 h 3502800"/>
              <a:gd name="connsiteX1" fmla="*/ 0 w 0"/>
              <a:gd name="connsiteY1" fmla="*/ 0 h 350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502800">
                <a:moveTo>
                  <a:pt x="0" y="3502800"/>
                </a:moveTo>
                <a:lnTo>
                  <a:pt x="0" y="0"/>
                </a:lnTo>
              </a:path>
            </a:pathLst>
          </a:custGeom>
          <a:ln w="114300">
            <a:solidFill>
              <a:srgbClr val="FF4D1D"/>
            </a:solidFill>
            <a:miter lim="800000"/>
          </a:ln>
        </p:spPr>
        <p:txBody>
          <a:bodyPr wrap="square" lIns="360000" rIns="0" anchor="ctr" anchorCtr="0">
            <a:spAutoFit/>
          </a:bodyPr>
          <a:lstStyle>
            <a:lvl1pPr marL="0" indent="0" algn="l">
              <a:lnSpc>
                <a:spcPct val="100000"/>
              </a:lnSpc>
              <a:defRPr sz="5000" b="1"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8" name="Date Placeholder 3" hidden="1">
            <a:extLst>
              <a:ext uri="{FF2B5EF4-FFF2-40B4-BE49-F238E27FC236}">
                <a16:creationId xmlns:a16="http://schemas.microsoft.com/office/drawing/2014/main" id="{4E095D68-EA81-42C5-97A4-062B0542D6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C505D6E5-2DB8-4C21-B9B8-C5D62F2CA3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158BB1-28CE-4CCE-9D4A-168A25974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5999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3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s- objekter med ikon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8">
            <a:extLst>
              <a:ext uri="{FF2B5EF4-FFF2-40B4-BE49-F238E27FC236}">
                <a16:creationId xmlns:a16="http://schemas.microsoft.com/office/drawing/2014/main" id="{73DFA073-C294-4B35-A2F2-BB743D36B61D}"/>
              </a:ext>
            </a:extLst>
          </p:cNvPr>
          <p:cNvSpPr/>
          <p:nvPr userDrawn="1"/>
        </p:nvSpPr>
        <p:spPr>
          <a:xfrm>
            <a:off x="369888" y="2178000"/>
            <a:ext cx="11453812" cy="4140000"/>
          </a:xfrm>
          <a:prstGeom prst="rect">
            <a:avLst/>
          </a:prstGeom>
          <a:solidFill>
            <a:srgbClr val="FF4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5FB2157-9FFB-4734-93AD-55FA1712CA2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3600" y="4186236"/>
            <a:ext cx="3023537" cy="187960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460800">
              <a:defRPr sz="1400">
                <a:solidFill>
                  <a:schemeClr val="bg1"/>
                </a:solidFill>
              </a:defRPr>
            </a:lvl2pPr>
            <a:lvl3pPr marL="691200"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88A51D77-9409-43DA-908E-13F5B02DB4B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04400" y="4186239"/>
            <a:ext cx="3022100" cy="188078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460800">
              <a:defRPr sz="1400">
                <a:solidFill>
                  <a:schemeClr val="bg1"/>
                </a:solidFill>
              </a:defRPr>
            </a:lvl2pPr>
            <a:lvl3pPr marL="691200"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A90A130B-6152-44ED-8F72-9431E110B315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503200" y="4186238"/>
            <a:ext cx="3022600" cy="18796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460800">
              <a:defRPr sz="1400">
                <a:solidFill>
                  <a:schemeClr val="bg1"/>
                </a:solidFill>
              </a:defRPr>
            </a:lvl2pPr>
            <a:lvl3pPr marL="691200"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ladsholder til tekst 11">
            <a:extLst>
              <a:ext uri="{FF2B5EF4-FFF2-40B4-BE49-F238E27FC236}">
                <a16:creationId xmlns:a16="http://schemas.microsoft.com/office/drawing/2014/main" id="{3F3CFA43-9AFD-49BD-A2A5-9998695DE3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45C3C02D-0467-4616-B3E9-0848CC6EEDC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cxnSp>
        <p:nvCxnSpPr>
          <p:cNvPr id="3" name="Lige forbindelse 10">
            <a:extLst>
              <a:ext uri="{FF2B5EF4-FFF2-40B4-BE49-F238E27FC236}">
                <a16:creationId xmlns:a16="http://schemas.microsoft.com/office/drawing/2014/main" id="{22DB0E0C-C25B-5523-C823-BB414D279CA4}"/>
              </a:ext>
            </a:extLst>
          </p:cNvPr>
          <p:cNvCxnSpPr>
            <a:cxnSpLocks/>
          </p:cNvCxnSpPr>
          <p:nvPr userDrawn="1"/>
        </p:nvCxnSpPr>
        <p:spPr>
          <a:xfrm flipV="1">
            <a:off x="4136400" y="2664000"/>
            <a:ext cx="0" cy="3401838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Lige forbindelse 11">
            <a:extLst>
              <a:ext uri="{FF2B5EF4-FFF2-40B4-BE49-F238E27FC236}">
                <a16:creationId xmlns:a16="http://schemas.microsoft.com/office/drawing/2014/main" id="{3E94EECE-569F-3ACC-E1DB-E3FC4E27CAB2}"/>
              </a:ext>
            </a:extLst>
          </p:cNvPr>
          <p:cNvCxnSpPr>
            <a:cxnSpLocks/>
          </p:cNvCxnSpPr>
          <p:nvPr userDrawn="1"/>
        </p:nvCxnSpPr>
        <p:spPr>
          <a:xfrm flipV="1">
            <a:off x="8054672" y="2664000"/>
            <a:ext cx="0" cy="34020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Ikon baggrund">
            <a:extLst>
              <a:ext uri="{FF2B5EF4-FFF2-40B4-BE49-F238E27FC236}">
                <a16:creationId xmlns:a16="http://schemas.microsoft.com/office/drawing/2014/main" id="{B065DBE2-9711-FDE9-6E1F-35A464902BE8}"/>
              </a:ext>
            </a:extLst>
          </p:cNvPr>
          <p:cNvSpPr>
            <a:spLocks/>
          </p:cNvSpPr>
          <p:nvPr userDrawn="1"/>
        </p:nvSpPr>
        <p:spPr>
          <a:xfrm>
            <a:off x="1623368" y="2418319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688DE5-2CE5-7E1C-ADA0-A3FEBC30C42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883891" y="2678842"/>
            <a:ext cx="882955" cy="882955"/>
          </a:xfrm>
        </p:spPr>
        <p:txBody>
          <a:bodyPr wrap="none" lIns="0" r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0" name="Ikon baggrund">
            <a:extLst>
              <a:ext uri="{FF2B5EF4-FFF2-40B4-BE49-F238E27FC236}">
                <a16:creationId xmlns:a16="http://schemas.microsoft.com/office/drawing/2014/main" id="{888A6008-BFFB-B124-7918-B46E9FCB61B8}"/>
              </a:ext>
            </a:extLst>
          </p:cNvPr>
          <p:cNvSpPr>
            <a:spLocks/>
          </p:cNvSpPr>
          <p:nvPr userDrawn="1"/>
        </p:nvSpPr>
        <p:spPr>
          <a:xfrm>
            <a:off x="5413450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5F109B4-6197-2D33-4231-D078E4BBB93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673973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3" name="Ikon baggrund">
            <a:extLst>
              <a:ext uri="{FF2B5EF4-FFF2-40B4-BE49-F238E27FC236}">
                <a16:creationId xmlns:a16="http://schemas.microsoft.com/office/drawing/2014/main" id="{9DB06149-F928-D030-3022-74AED0DBA7DB}"/>
              </a:ext>
            </a:extLst>
          </p:cNvPr>
          <p:cNvSpPr>
            <a:spLocks/>
          </p:cNvSpPr>
          <p:nvPr userDrawn="1"/>
        </p:nvSpPr>
        <p:spPr>
          <a:xfrm>
            <a:off x="9312500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435A8D28-B729-9B64-56C7-F12AD8293F6D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573023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</p:spTree>
    <p:extLst>
      <p:ext uri="{BB962C8B-B14F-4D97-AF65-F5344CB8AC3E}">
        <p14:creationId xmlns:p14="http://schemas.microsoft.com/office/powerpoint/2010/main" val="2614324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3821">
          <p15:clr>
            <a:srgbClr val="A4A3A4"/>
          </p15:clr>
        </p15:guide>
        <p15:guide id="10" orient="horz" pos="2637">
          <p15:clr>
            <a:srgbClr val="A4A3A4"/>
          </p15:clr>
        </p15:guide>
        <p15:guide id="11" orient="horz" pos="1687">
          <p15:clr>
            <a:srgbClr val="A4A3A4"/>
          </p15:clr>
        </p15:guide>
        <p15:guide id="12" orient="horz" pos="103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baggrund">
            <a:extLst>
              <a:ext uri="{FF2B5EF4-FFF2-40B4-BE49-F238E27FC236}">
                <a16:creationId xmlns:a16="http://schemas.microsoft.com/office/drawing/2014/main" id="{799E9EBA-7E32-6F73-B848-4D789D220508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10" name="Pladsholder til tekst 11">
            <a:extLst>
              <a:ext uri="{FF2B5EF4-FFF2-40B4-BE49-F238E27FC236}">
                <a16:creationId xmlns:a16="http://schemas.microsoft.com/office/drawing/2014/main" id="{F1C096C9-C942-464B-B47B-04D51D183D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42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F094F33-C17D-4723-8069-FFFC203251D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3199" y="2664000"/>
            <a:ext cx="3023537" cy="36479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>
              <a:defRPr sz="1400"/>
            </a:lvl2pPr>
            <a:lvl3pPr>
              <a:defRPr sz="1200"/>
            </a:lvl3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E9433D69-2CFE-4421-B508-2A237D9852A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86400" y="2664000"/>
            <a:ext cx="3023537" cy="36479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460800">
              <a:defRPr sz="1400"/>
            </a:lvl2pPr>
            <a:lvl3pPr marL="691200">
              <a:defRPr sz="1200"/>
            </a:lvl3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073A599E-8395-4BFC-AA4F-F22B281731B7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406000" y="2664000"/>
            <a:ext cx="3024000" cy="36479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460800">
              <a:defRPr sz="1400"/>
            </a:lvl2pPr>
            <a:lvl3pPr marL="691200">
              <a:defRPr sz="1200"/>
            </a:lvl3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cxnSp>
        <p:nvCxnSpPr>
          <p:cNvPr id="5" name="Lige forbindelse 10">
            <a:extLst>
              <a:ext uri="{FF2B5EF4-FFF2-40B4-BE49-F238E27FC236}">
                <a16:creationId xmlns:a16="http://schemas.microsoft.com/office/drawing/2014/main" id="{B9CA0BED-E263-FB16-9951-3D9523625F1A}"/>
              </a:ext>
            </a:extLst>
          </p:cNvPr>
          <p:cNvCxnSpPr>
            <a:cxnSpLocks/>
          </p:cNvCxnSpPr>
          <p:nvPr userDrawn="1"/>
        </p:nvCxnSpPr>
        <p:spPr>
          <a:xfrm flipV="1">
            <a:off x="4136400" y="2664000"/>
            <a:ext cx="0" cy="35532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" name="Lige forbindelse 11">
            <a:extLst>
              <a:ext uri="{FF2B5EF4-FFF2-40B4-BE49-F238E27FC236}">
                <a16:creationId xmlns:a16="http://schemas.microsoft.com/office/drawing/2014/main" id="{02A91CCB-C834-0782-FF1C-67E9DA6F0DDA}"/>
              </a:ext>
            </a:extLst>
          </p:cNvPr>
          <p:cNvCxnSpPr>
            <a:cxnSpLocks/>
          </p:cNvCxnSpPr>
          <p:nvPr userDrawn="1"/>
        </p:nvCxnSpPr>
        <p:spPr>
          <a:xfrm flipV="1">
            <a:off x="8054672" y="2664000"/>
            <a:ext cx="0" cy="35532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517DA6EF-C22B-465F-836B-B423DFAE35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71585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1292">
          <p15:clr>
            <a:srgbClr val="A4A3A4"/>
          </p15:clr>
        </p15:guide>
        <p15:guide id="9" orient="horz" pos="1678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: Fire indholds- objekter med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baggrund">
            <a:extLst>
              <a:ext uri="{FF2B5EF4-FFF2-40B4-BE49-F238E27FC236}">
                <a16:creationId xmlns:a16="http://schemas.microsoft.com/office/drawing/2014/main" id="{978E0961-A409-59E9-2AE9-5D7438B73D6C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 noProof="0"/>
          </a:p>
        </p:txBody>
      </p:sp>
      <p:sp>
        <p:nvSpPr>
          <p:cNvPr id="7" name="Rektangel 7">
            <a:extLst>
              <a:ext uri="{FF2B5EF4-FFF2-40B4-BE49-F238E27FC236}">
                <a16:creationId xmlns:a16="http://schemas.microsoft.com/office/drawing/2014/main" id="{57E205B6-A953-79B9-C0A2-15EFFF3C6CB2}"/>
              </a:ext>
            </a:extLst>
          </p:cNvPr>
          <p:cNvSpPr/>
          <p:nvPr userDrawn="1"/>
        </p:nvSpPr>
        <p:spPr>
          <a:xfrm>
            <a:off x="370800" y="3117600"/>
            <a:ext cx="26676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4" name="Rektangel 8">
            <a:extLst>
              <a:ext uri="{FF2B5EF4-FFF2-40B4-BE49-F238E27FC236}">
                <a16:creationId xmlns:a16="http://schemas.microsoft.com/office/drawing/2014/main" id="{3A457948-4C62-8CAA-D43E-3B490FED185B}"/>
              </a:ext>
            </a:extLst>
          </p:cNvPr>
          <p:cNvSpPr/>
          <p:nvPr userDrawn="1"/>
        </p:nvSpPr>
        <p:spPr>
          <a:xfrm>
            <a:off x="3299357" y="3117600"/>
            <a:ext cx="26676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5" name="Rektangel 9">
            <a:extLst>
              <a:ext uri="{FF2B5EF4-FFF2-40B4-BE49-F238E27FC236}">
                <a16:creationId xmlns:a16="http://schemas.microsoft.com/office/drawing/2014/main" id="{583B6FE6-055A-CAC5-0631-302D2D90FBF8}"/>
              </a:ext>
            </a:extLst>
          </p:cNvPr>
          <p:cNvSpPr/>
          <p:nvPr userDrawn="1"/>
        </p:nvSpPr>
        <p:spPr>
          <a:xfrm>
            <a:off x="6227914" y="3117600"/>
            <a:ext cx="26676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6" name="Rektangel 10">
            <a:extLst>
              <a:ext uri="{FF2B5EF4-FFF2-40B4-BE49-F238E27FC236}">
                <a16:creationId xmlns:a16="http://schemas.microsoft.com/office/drawing/2014/main" id="{49C601FE-2261-E5B4-F5D1-FAA8A501ACB0}"/>
              </a:ext>
            </a:extLst>
          </p:cNvPr>
          <p:cNvSpPr/>
          <p:nvPr userDrawn="1"/>
        </p:nvSpPr>
        <p:spPr>
          <a:xfrm>
            <a:off x="9156470" y="3117600"/>
            <a:ext cx="2667600" cy="319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 err="1"/>
              <a:t>Klik</a:t>
            </a:r>
            <a:r>
              <a:rPr lang="en-GB" noProof="0"/>
              <a:t> for at </a:t>
            </a:r>
            <a:r>
              <a:rPr lang="en-GB" noProof="0" err="1"/>
              <a:t>tilføje</a:t>
            </a:r>
            <a:r>
              <a:rPr lang="en-GB" noProof="0"/>
              <a:t> </a:t>
            </a:r>
            <a:r>
              <a:rPr lang="en-GB" noProof="0" err="1"/>
              <a:t>overskrift</a:t>
            </a:r>
            <a:endParaRPr lang="en-GB" noProof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FBA61D5-9F46-44CD-A3A3-3DDCCA88F5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69600" y="4035600"/>
            <a:ext cx="2068900" cy="203023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32E1DD71-8062-474F-9020-2548C9CC3D8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98574" y="4035600"/>
            <a:ext cx="2069166" cy="203023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2AF7470E-A182-455F-A893-C6C534B4C6F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526664" y="4035600"/>
            <a:ext cx="2070100" cy="203023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7ADD8AE8-AB76-4D70-859F-BA3015BF423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455820" y="4035600"/>
            <a:ext cx="2068900" cy="2030238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D8B85CA4-03F9-4E7A-BE95-25FC03CFE5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42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cxnSp>
        <p:nvCxnSpPr>
          <p:cNvPr id="9" name="Lige forbindelse 13">
            <a:extLst>
              <a:ext uri="{FF2B5EF4-FFF2-40B4-BE49-F238E27FC236}">
                <a16:creationId xmlns:a16="http://schemas.microsoft.com/office/drawing/2014/main" id="{DEE28C68-4740-43A8-A8CE-E040558EE227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1200" y="3117600"/>
            <a:ext cx="8237" cy="319320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0" name="Lige forbindelse 14">
            <a:extLst>
              <a:ext uri="{FF2B5EF4-FFF2-40B4-BE49-F238E27FC236}">
                <a16:creationId xmlns:a16="http://schemas.microsoft.com/office/drawing/2014/main" id="{82B7F0FD-7807-4288-B5D1-9EE54025786F}"/>
              </a:ext>
            </a:extLst>
          </p:cNvPr>
          <p:cNvCxnSpPr>
            <a:cxnSpLocks/>
          </p:cNvCxnSpPr>
          <p:nvPr userDrawn="1"/>
        </p:nvCxnSpPr>
        <p:spPr>
          <a:xfrm flipV="1">
            <a:off x="9021442" y="3117600"/>
            <a:ext cx="8237" cy="319320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Lige forbindelse 15">
            <a:extLst>
              <a:ext uri="{FF2B5EF4-FFF2-40B4-BE49-F238E27FC236}">
                <a16:creationId xmlns:a16="http://schemas.microsoft.com/office/drawing/2014/main" id="{FCFC302D-90E7-4CBB-8BDB-0DA5A8A1CB94}"/>
              </a:ext>
            </a:extLst>
          </p:cNvPr>
          <p:cNvCxnSpPr>
            <a:cxnSpLocks/>
          </p:cNvCxnSpPr>
          <p:nvPr userDrawn="1"/>
        </p:nvCxnSpPr>
        <p:spPr>
          <a:xfrm flipV="1">
            <a:off x="3166762" y="3117600"/>
            <a:ext cx="8237" cy="3193200"/>
          </a:xfrm>
          <a:prstGeom prst="line">
            <a:avLst/>
          </a:prstGeom>
          <a:ln w="38100">
            <a:solidFill>
              <a:srgbClr val="FF4D1D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Ikon baggrund">
            <a:extLst>
              <a:ext uri="{FF2B5EF4-FFF2-40B4-BE49-F238E27FC236}">
                <a16:creationId xmlns:a16="http://schemas.microsoft.com/office/drawing/2014/main" id="{48690B94-FE86-F2DF-42F7-02876EF88AA5}"/>
              </a:ext>
            </a:extLst>
          </p:cNvPr>
          <p:cNvSpPr>
            <a:spLocks/>
          </p:cNvSpPr>
          <p:nvPr userDrawn="1"/>
        </p:nvSpPr>
        <p:spPr>
          <a:xfrm>
            <a:off x="1002600" y="2418319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F919436B-F524-A78B-0462-ACF6ECAEC71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263123" y="2678842"/>
            <a:ext cx="882955" cy="882955"/>
          </a:xfrm>
        </p:spPr>
        <p:txBody>
          <a:bodyPr wrap="none" lIns="0" r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5" name="Ikon baggrund">
            <a:extLst>
              <a:ext uri="{FF2B5EF4-FFF2-40B4-BE49-F238E27FC236}">
                <a16:creationId xmlns:a16="http://schemas.microsoft.com/office/drawing/2014/main" id="{E2DAFE86-0010-8536-500E-F788FD89B40D}"/>
              </a:ext>
            </a:extLst>
          </p:cNvPr>
          <p:cNvSpPr>
            <a:spLocks/>
          </p:cNvSpPr>
          <p:nvPr userDrawn="1"/>
        </p:nvSpPr>
        <p:spPr>
          <a:xfrm>
            <a:off x="3931157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B9D31903-0D06-AB00-A7BB-723C6FAFAB0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191680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7" name="Ikon baggrund">
            <a:extLst>
              <a:ext uri="{FF2B5EF4-FFF2-40B4-BE49-F238E27FC236}">
                <a16:creationId xmlns:a16="http://schemas.microsoft.com/office/drawing/2014/main" id="{2A8A3334-C007-E561-E4BB-558C8AEEFB7A}"/>
              </a:ext>
            </a:extLst>
          </p:cNvPr>
          <p:cNvSpPr>
            <a:spLocks/>
          </p:cNvSpPr>
          <p:nvPr userDrawn="1"/>
        </p:nvSpPr>
        <p:spPr>
          <a:xfrm>
            <a:off x="6859714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7DA0F9D5-0286-1F45-5F56-713E6479F7C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7120237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9" name="Ikon baggrund">
            <a:extLst>
              <a:ext uri="{FF2B5EF4-FFF2-40B4-BE49-F238E27FC236}">
                <a16:creationId xmlns:a16="http://schemas.microsoft.com/office/drawing/2014/main" id="{35AD4C54-B663-4B76-225E-3B5D0DB984FA}"/>
              </a:ext>
            </a:extLst>
          </p:cNvPr>
          <p:cNvSpPr>
            <a:spLocks/>
          </p:cNvSpPr>
          <p:nvPr userDrawn="1"/>
        </p:nvSpPr>
        <p:spPr>
          <a:xfrm>
            <a:off x="9788270" y="2420141"/>
            <a:ext cx="1404000" cy="1404000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1FDD1A6-A06E-68D3-CB14-4A7EF1D5C17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048793" y="2680664"/>
            <a:ext cx="882955" cy="882955"/>
          </a:xfrm>
        </p:spPr>
        <p:txBody>
          <a:bodyPr wrap="none" lIns="0" bIns="1764000"/>
          <a:lstStyle>
            <a:lvl1pPr marL="0" indent="0" algn="ctr">
              <a:buNone/>
              <a:defRPr sz="10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2FD3082F-5C3B-4233-AE74-7B2D6977C30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09719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orient="horz" pos="1292">
          <p15:clr>
            <a:srgbClr val="A4A3A4"/>
          </p15:clr>
        </p15:guide>
        <p15:guide id="11" orient="horz" pos="3821">
          <p15:clr>
            <a:srgbClr val="A4A3A4"/>
          </p15:clr>
        </p15:guide>
        <p15:guide id="12" orient="horz" pos="2542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baggrund">
            <a:extLst>
              <a:ext uri="{FF2B5EF4-FFF2-40B4-BE49-F238E27FC236}">
                <a16:creationId xmlns:a16="http://schemas.microsoft.com/office/drawing/2014/main" id="{FD79C6E9-8B39-B337-F38E-F9C3B7128FD0}"/>
              </a:ext>
            </a:extLst>
          </p:cNvPr>
          <p:cNvSpPr/>
          <p:nvPr userDrawn="1"/>
        </p:nvSpPr>
        <p:spPr>
          <a:xfrm>
            <a:off x="0" y="1"/>
            <a:ext cx="12192000" cy="20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10668000" cy="1260000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defRPr/>
            </a:lvl1pPr>
          </a:lstStyle>
          <a:p>
            <a:r>
              <a:rPr lang="en-GB" noProof="0"/>
              <a:t>Klik for at tilføje overskrif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FBA61D5-9F46-44CD-A3A3-3DDCCA88F5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69600" y="2663999"/>
            <a:ext cx="2070000" cy="3646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6pPr>
              <a:defRPr>
                <a:solidFill>
                  <a:srgbClr val="FF4D1D"/>
                </a:solidFill>
              </a:defRPr>
            </a:lvl6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32E1DD71-8062-474F-9020-2548C9CC3D8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00000" y="2664000"/>
            <a:ext cx="2070000" cy="3646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6pPr>
              <a:defRPr/>
            </a:lvl6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	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2AF7470E-A182-455F-A893-C6C534B4C6F9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526800" y="2664000"/>
            <a:ext cx="2070098" cy="3646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sp>
        <p:nvSpPr>
          <p:cNvPr id="24" name="Content Placeholder 5">
            <a:extLst>
              <a:ext uri="{FF2B5EF4-FFF2-40B4-BE49-F238E27FC236}">
                <a16:creationId xmlns:a16="http://schemas.microsoft.com/office/drawing/2014/main" id="{7ADD8AE8-AB76-4D70-859F-BA3015BF423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457200" y="2664000"/>
            <a:ext cx="2070000" cy="3646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4pPr>
              <a:defRPr>
                <a:solidFill>
                  <a:srgbClr val="FF4D1D"/>
                </a:solidFill>
              </a:defRPr>
            </a:lvl4pPr>
            <a:lvl5pPr>
              <a:defRPr/>
            </a:lvl5pPr>
            <a:lvl7pPr>
              <a:defRPr>
                <a:solidFill>
                  <a:srgbClr val="FF4D1D"/>
                </a:solidFill>
              </a:defRPr>
            </a:lvl7pPr>
          </a:lstStyle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</p:txBody>
      </p:sp>
      <p:sp>
        <p:nvSpPr>
          <p:cNvPr id="13" name="Pladsholder til tekst 11">
            <a:extLst>
              <a:ext uri="{FF2B5EF4-FFF2-40B4-BE49-F238E27FC236}">
                <a16:creationId xmlns:a16="http://schemas.microsoft.com/office/drawing/2014/main" id="{D8B85CA4-03F9-4E7A-BE95-25FC03CFE5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3200" y="6454199"/>
            <a:ext cx="7642800" cy="18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/>
              <a:t>Tilføj note</a:t>
            </a:r>
          </a:p>
        </p:txBody>
      </p:sp>
      <p:cxnSp>
        <p:nvCxnSpPr>
          <p:cNvPr id="4" name="Lige forbindelse 13">
            <a:extLst>
              <a:ext uri="{FF2B5EF4-FFF2-40B4-BE49-F238E27FC236}">
                <a16:creationId xmlns:a16="http://schemas.microsoft.com/office/drawing/2014/main" id="{77653F3B-277B-603F-7B27-04DDA2BF4C0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1200" y="2664000"/>
            <a:ext cx="8237" cy="35532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" name="Lige forbindelse 14">
            <a:extLst>
              <a:ext uri="{FF2B5EF4-FFF2-40B4-BE49-F238E27FC236}">
                <a16:creationId xmlns:a16="http://schemas.microsoft.com/office/drawing/2014/main" id="{21EF090A-56A8-2262-B4B1-1EBB73D8CB29}"/>
              </a:ext>
            </a:extLst>
          </p:cNvPr>
          <p:cNvCxnSpPr>
            <a:cxnSpLocks/>
          </p:cNvCxnSpPr>
          <p:nvPr userDrawn="1"/>
        </p:nvCxnSpPr>
        <p:spPr>
          <a:xfrm flipV="1">
            <a:off x="9029679" y="2664000"/>
            <a:ext cx="0" cy="35544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" name="Lige forbindelse 15">
            <a:extLst>
              <a:ext uri="{FF2B5EF4-FFF2-40B4-BE49-F238E27FC236}">
                <a16:creationId xmlns:a16="http://schemas.microsoft.com/office/drawing/2014/main" id="{3B0D13BE-8A14-1F65-C2B9-B0685BA7EF31}"/>
              </a:ext>
            </a:extLst>
          </p:cNvPr>
          <p:cNvCxnSpPr>
            <a:cxnSpLocks/>
          </p:cNvCxnSpPr>
          <p:nvPr userDrawn="1"/>
        </p:nvCxnSpPr>
        <p:spPr>
          <a:xfrm flipV="1">
            <a:off x="3174999" y="2664000"/>
            <a:ext cx="0" cy="3553200"/>
          </a:xfrm>
          <a:prstGeom prst="line">
            <a:avLst/>
          </a:prstGeom>
          <a:ln w="38100">
            <a:solidFill>
              <a:srgbClr val="8A3F4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2FD3082F-5C3B-4233-AE74-7B2D6977C30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29341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1292">
          <p15:clr>
            <a:srgbClr val="A4A3A4"/>
          </p15:clr>
        </p15:guide>
        <p15:guide id="10" orient="horz" pos="1678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 + 1-2 linj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170A9DB9-A517-47A6-95AD-48FF517F1F31}"/>
              </a:ext>
            </a:extLst>
          </p:cNvPr>
          <p:cNvSpPr/>
          <p:nvPr userDrawn="1"/>
        </p:nvSpPr>
        <p:spPr>
          <a:xfrm>
            <a:off x="371474" y="376238"/>
            <a:ext cx="11452225" cy="59404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 noProof="0"/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BD63BDDF-24ED-4106-8F9C-00F0905CCE74}"/>
              </a:ext>
            </a:extLst>
          </p:cNvPr>
          <p:cNvSpPr>
            <a:spLocks/>
          </p:cNvSpPr>
          <p:nvPr userDrawn="1"/>
        </p:nvSpPr>
        <p:spPr>
          <a:xfrm>
            <a:off x="993775" y="1297546"/>
            <a:ext cx="4090625" cy="4090341"/>
          </a:xfrm>
          <a:custGeom>
            <a:avLst/>
            <a:gdLst/>
            <a:ahLst/>
            <a:cxnLst/>
            <a:rect l="l" t="t" r="r" b="b"/>
            <a:pathLst>
              <a:path w="1374775" h="1374775">
                <a:moveTo>
                  <a:pt x="687151" y="0"/>
                </a:moveTo>
                <a:lnTo>
                  <a:pt x="640104" y="1585"/>
                </a:lnTo>
                <a:lnTo>
                  <a:pt x="593908" y="6272"/>
                </a:lnTo>
                <a:lnTo>
                  <a:pt x="548665" y="13960"/>
                </a:lnTo>
                <a:lnTo>
                  <a:pt x="504478" y="24545"/>
                </a:lnTo>
                <a:lnTo>
                  <a:pt x="461449" y="37925"/>
                </a:lnTo>
                <a:lnTo>
                  <a:pt x="419679" y="53999"/>
                </a:lnTo>
                <a:lnTo>
                  <a:pt x="379273" y="72663"/>
                </a:lnTo>
                <a:lnTo>
                  <a:pt x="340331" y="93815"/>
                </a:lnTo>
                <a:lnTo>
                  <a:pt x="302957" y="117353"/>
                </a:lnTo>
                <a:lnTo>
                  <a:pt x="267252" y="143175"/>
                </a:lnTo>
                <a:lnTo>
                  <a:pt x="233319" y="171178"/>
                </a:lnTo>
                <a:lnTo>
                  <a:pt x="201260" y="201260"/>
                </a:lnTo>
                <a:lnTo>
                  <a:pt x="171178" y="233319"/>
                </a:lnTo>
                <a:lnTo>
                  <a:pt x="143175" y="267252"/>
                </a:lnTo>
                <a:lnTo>
                  <a:pt x="117353" y="302957"/>
                </a:lnTo>
                <a:lnTo>
                  <a:pt x="93815" y="340331"/>
                </a:lnTo>
                <a:lnTo>
                  <a:pt x="72663" y="379273"/>
                </a:lnTo>
                <a:lnTo>
                  <a:pt x="53999" y="419679"/>
                </a:lnTo>
                <a:lnTo>
                  <a:pt x="37925" y="461449"/>
                </a:lnTo>
                <a:lnTo>
                  <a:pt x="24545" y="504478"/>
                </a:lnTo>
                <a:lnTo>
                  <a:pt x="13960" y="548665"/>
                </a:lnTo>
                <a:lnTo>
                  <a:pt x="6272" y="593908"/>
                </a:lnTo>
                <a:lnTo>
                  <a:pt x="1585" y="640104"/>
                </a:lnTo>
                <a:lnTo>
                  <a:pt x="0" y="687151"/>
                </a:lnTo>
                <a:lnTo>
                  <a:pt x="1585" y="734198"/>
                </a:lnTo>
                <a:lnTo>
                  <a:pt x="6272" y="780394"/>
                </a:lnTo>
                <a:lnTo>
                  <a:pt x="13960" y="825637"/>
                </a:lnTo>
                <a:lnTo>
                  <a:pt x="24545" y="869825"/>
                </a:lnTo>
                <a:lnTo>
                  <a:pt x="37925" y="912854"/>
                </a:lnTo>
                <a:lnTo>
                  <a:pt x="53999" y="954623"/>
                </a:lnTo>
                <a:lnTo>
                  <a:pt x="72663" y="995030"/>
                </a:lnTo>
                <a:lnTo>
                  <a:pt x="93815" y="1033972"/>
                </a:lnTo>
                <a:lnTo>
                  <a:pt x="117353" y="1071346"/>
                </a:lnTo>
                <a:lnTo>
                  <a:pt x="143175" y="1107051"/>
                </a:lnTo>
                <a:lnTo>
                  <a:pt x="171178" y="1140984"/>
                </a:lnTo>
                <a:lnTo>
                  <a:pt x="201260" y="1173042"/>
                </a:lnTo>
                <a:lnTo>
                  <a:pt x="233319" y="1203124"/>
                </a:lnTo>
                <a:lnTo>
                  <a:pt x="267252" y="1231127"/>
                </a:lnTo>
                <a:lnTo>
                  <a:pt x="302957" y="1256949"/>
                </a:lnTo>
                <a:lnTo>
                  <a:pt x="340331" y="1280488"/>
                </a:lnTo>
                <a:lnTo>
                  <a:pt x="379273" y="1301640"/>
                </a:lnTo>
                <a:lnTo>
                  <a:pt x="419679" y="1320304"/>
                </a:lnTo>
                <a:lnTo>
                  <a:pt x="461449" y="1336377"/>
                </a:lnTo>
                <a:lnTo>
                  <a:pt x="504478" y="1349758"/>
                </a:lnTo>
                <a:lnTo>
                  <a:pt x="548665" y="1360343"/>
                </a:lnTo>
                <a:lnTo>
                  <a:pt x="593908" y="1368030"/>
                </a:lnTo>
                <a:lnTo>
                  <a:pt x="640104" y="1372718"/>
                </a:lnTo>
                <a:lnTo>
                  <a:pt x="687151" y="1374303"/>
                </a:lnTo>
                <a:lnTo>
                  <a:pt x="734198" y="1372718"/>
                </a:lnTo>
                <a:lnTo>
                  <a:pt x="780394" y="1368030"/>
                </a:lnTo>
                <a:lnTo>
                  <a:pt x="825637" y="1360343"/>
                </a:lnTo>
                <a:lnTo>
                  <a:pt x="869825" y="1349758"/>
                </a:lnTo>
                <a:lnTo>
                  <a:pt x="912854" y="1336377"/>
                </a:lnTo>
                <a:lnTo>
                  <a:pt x="954623" y="1320304"/>
                </a:lnTo>
                <a:lnTo>
                  <a:pt x="995030" y="1301640"/>
                </a:lnTo>
                <a:lnTo>
                  <a:pt x="1033972" y="1280488"/>
                </a:lnTo>
                <a:lnTo>
                  <a:pt x="1071346" y="1256949"/>
                </a:lnTo>
                <a:lnTo>
                  <a:pt x="1107051" y="1231127"/>
                </a:lnTo>
                <a:lnTo>
                  <a:pt x="1140984" y="1203124"/>
                </a:lnTo>
                <a:lnTo>
                  <a:pt x="1173042" y="1173042"/>
                </a:lnTo>
                <a:lnTo>
                  <a:pt x="1203124" y="1140984"/>
                </a:lnTo>
                <a:lnTo>
                  <a:pt x="1231127" y="1107051"/>
                </a:lnTo>
                <a:lnTo>
                  <a:pt x="1256949" y="1071346"/>
                </a:lnTo>
                <a:lnTo>
                  <a:pt x="1280488" y="1033972"/>
                </a:lnTo>
                <a:lnTo>
                  <a:pt x="1301640" y="995030"/>
                </a:lnTo>
                <a:lnTo>
                  <a:pt x="1320304" y="954623"/>
                </a:lnTo>
                <a:lnTo>
                  <a:pt x="1336377" y="912854"/>
                </a:lnTo>
                <a:lnTo>
                  <a:pt x="1349758" y="869825"/>
                </a:lnTo>
                <a:lnTo>
                  <a:pt x="1360343" y="825637"/>
                </a:lnTo>
                <a:lnTo>
                  <a:pt x="1368030" y="780394"/>
                </a:lnTo>
                <a:lnTo>
                  <a:pt x="1372718" y="734198"/>
                </a:lnTo>
                <a:lnTo>
                  <a:pt x="1374303" y="687151"/>
                </a:lnTo>
                <a:lnTo>
                  <a:pt x="1372718" y="640104"/>
                </a:lnTo>
                <a:lnTo>
                  <a:pt x="1368030" y="593908"/>
                </a:lnTo>
                <a:lnTo>
                  <a:pt x="1360343" y="548665"/>
                </a:lnTo>
                <a:lnTo>
                  <a:pt x="1349758" y="504478"/>
                </a:lnTo>
                <a:lnTo>
                  <a:pt x="1336377" y="461449"/>
                </a:lnTo>
                <a:lnTo>
                  <a:pt x="1320304" y="419679"/>
                </a:lnTo>
                <a:lnTo>
                  <a:pt x="1301640" y="379273"/>
                </a:lnTo>
                <a:lnTo>
                  <a:pt x="1280488" y="340331"/>
                </a:lnTo>
                <a:lnTo>
                  <a:pt x="1256949" y="302957"/>
                </a:lnTo>
                <a:lnTo>
                  <a:pt x="1231127" y="267252"/>
                </a:lnTo>
                <a:lnTo>
                  <a:pt x="1203124" y="233319"/>
                </a:lnTo>
                <a:lnTo>
                  <a:pt x="1173042" y="201260"/>
                </a:lnTo>
                <a:lnTo>
                  <a:pt x="1140984" y="171178"/>
                </a:lnTo>
                <a:lnTo>
                  <a:pt x="1107051" y="143175"/>
                </a:lnTo>
                <a:lnTo>
                  <a:pt x="1071346" y="117353"/>
                </a:lnTo>
                <a:lnTo>
                  <a:pt x="1033972" y="93815"/>
                </a:lnTo>
                <a:lnTo>
                  <a:pt x="995030" y="72663"/>
                </a:lnTo>
                <a:lnTo>
                  <a:pt x="954623" y="53999"/>
                </a:lnTo>
                <a:lnTo>
                  <a:pt x="912854" y="37925"/>
                </a:lnTo>
                <a:lnTo>
                  <a:pt x="869825" y="24545"/>
                </a:lnTo>
                <a:lnTo>
                  <a:pt x="825637" y="13960"/>
                </a:lnTo>
                <a:lnTo>
                  <a:pt x="780394" y="6272"/>
                </a:lnTo>
                <a:lnTo>
                  <a:pt x="734198" y="1585"/>
                </a:lnTo>
                <a:lnTo>
                  <a:pt x="687151" y="0"/>
                </a:lnTo>
                <a:close/>
              </a:path>
            </a:pathLst>
          </a:custGeom>
          <a:solidFill>
            <a:srgbClr val="FCE5DB"/>
          </a:solidFill>
          <a:ln w="76200">
            <a:noFill/>
          </a:ln>
        </p:spPr>
        <p:txBody>
          <a:bodyPr wrap="square" lIns="0" tIns="0" rIns="0" bIns="0" rtlCol="0"/>
          <a:lstStyle/>
          <a:p>
            <a:endParaRPr lang="en-GB" noProof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95C205-9F3E-42FB-8512-F1E91CFC5750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1419087" y="1722716"/>
            <a:ext cx="3240000" cy="324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AE685A-597C-44F9-B35F-079DB59D11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77568" y="2573594"/>
            <a:ext cx="5452431" cy="1538883"/>
          </a:xfrm>
          <a:custGeom>
            <a:avLst/>
            <a:gdLst>
              <a:gd name="connsiteX0" fmla="*/ 0 w 4981564"/>
              <a:gd name="connsiteY0" fmla="*/ 0 h 3077766"/>
              <a:gd name="connsiteX1" fmla="*/ 4981564 w 4981564"/>
              <a:gd name="connsiteY1" fmla="*/ 0 h 3077766"/>
              <a:gd name="connsiteX2" fmla="*/ 4981564 w 4981564"/>
              <a:gd name="connsiteY2" fmla="*/ 3077766 h 3077766"/>
              <a:gd name="connsiteX3" fmla="*/ 0 w 4981564"/>
              <a:gd name="connsiteY3" fmla="*/ 3077766 h 3077766"/>
              <a:gd name="connsiteX4" fmla="*/ 0 w 4981564"/>
              <a:gd name="connsiteY4" fmla="*/ 0 h 3077766"/>
              <a:gd name="connsiteX0" fmla="*/ 0 w 4981564"/>
              <a:gd name="connsiteY0" fmla="*/ 3077766 h 3169206"/>
              <a:gd name="connsiteX1" fmla="*/ 0 w 4981564"/>
              <a:gd name="connsiteY1" fmla="*/ 0 h 3169206"/>
              <a:gd name="connsiteX2" fmla="*/ 4981564 w 4981564"/>
              <a:gd name="connsiteY2" fmla="*/ 0 h 3169206"/>
              <a:gd name="connsiteX3" fmla="*/ 4981564 w 4981564"/>
              <a:gd name="connsiteY3" fmla="*/ 3077766 h 3169206"/>
              <a:gd name="connsiteX4" fmla="*/ 91440 w 4981564"/>
              <a:gd name="connsiteY4" fmla="*/ 3169206 h 3169206"/>
              <a:gd name="connsiteX0" fmla="*/ 0 w 4981564"/>
              <a:gd name="connsiteY0" fmla="*/ 3077766 h 3077766"/>
              <a:gd name="connsiteX1" fmla="*/ 0 w 4981564"/>
              <a:gd name="connsiteY1" fmla="*/ 0 h 3077766"/>
              <a:gd name="connsiteX2" fmla="*/ 4981564 w 4981564"/>
              <a:gd name="connsiteY2" fmla="*/ 0 h 3077766"/>
              <a:gd name="connsiteX3" fmla="*/ 4981564 w 4981564"/>
              <a:gd name="connsiteY3" fmla="*/ 3077766 h 3077766"/>
              <a:gd name="connsiteX0" fmla="*/ 0 w 4981564"/>
              <a:gd name="connsiteY0" fmla="*/ 3077766 h 3077766"/>
              <a:gd name="connsiteX1" fmla="*/ 0 w 4981564"/>
              <a:gd name="connsiteY1" fmla="*/ 0 h 3077766"/>
              <a:gd name="connsiteX2" fmla="*/ 4981564 w 4981564"/>
              <a:gd name="connsiteY2" fmla="*/ 0 h 3077766"/>
              <a:gd name="connsiteX0" fmla="*/ 0 w 0"/>
              <a:gd name="connsiteY0" fmla="*/ 3077766 h 3077766"/>
              <a:gd name="connsiteX1" fmla="*/ 0 w 0"/>
              <a:gd name="connsiteY1" fmla="*/ 0 h 3077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077766">
                <a:moveTo>
                  <a:pt x="0" y="3077766"/>
                </a:moveTo>
                <a:lnTo>
                  <a:pt x="0" y="0"/>
                </a:lnTo>
              </a:path>
            </a:pathLst>
          </a:custGeom>
          <a:ln w="114300">
            <a:solidFill>
              <a:srgbClr val="FF4D1D"/>
            </a:solidFill>
            <a:miter lim="800000"/>
          </a:ln>
        </p:spPr>
        <p:txBody>
          <a:bodyPr wrap="square" lIns="360000" anchor="ctr" anchorCtr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5000" b="1"/>
            </a:lvl1pPr>
          </a:lstStyle>
          <a:p>
            <a:pPr lvl="0"/>
            <a:r>
              <a:rPr lang="en-GB" noProof="0"/>
              <a:t>Klik for at tilføje tekst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12F56C-EF40-F622-9A24-50AD72E94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AP Pension | </a:t>
            </a:r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4261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751EC5F0-9BE9-427F-A2AC-88C0FE6784C7}"/>
              </a:ext>
            </a:extLst>
          </p:cNvPr>
          <p:cNvSpPr/>
          <p:nvPr userDrawn="1"/>
        </p:nvSpPr>
        <p:spPr>
          <a:xfrm>
            <a:off x="371474" y="376238"/>
            <a:ext cx="11452225" cy="594042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 noProof="0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DF68DBC8-9771-4B24-AF27-49E6177138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DFBD93F-620D-7F68-1376-45B7DF8B4B5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8300" y="2176463"/>
            <a:ext cx="11452225" cy="1398941"/>
          </a:xfrm>
        </p:spPr>
        <p:txBody>
          <a:bodyPr anchor="b" anchorCtr="0"/>
          <a:lstStyle>
            <a:lvl1pPr marL="0" indent="0" algn="ctr">
              <a:buNone/>
              <a:defRPr sz="5000" b="1"/>
            </a:lvl1pPr>
            <a:lvl2pPr marL="230400" indent="0">
              <a:buNone/>
              <a:defRPr sz="5000" b="1"/>
            </a:lvl2pPr>
            <a:lvl3pPr marL="460800" indent="0">
              <a:buNone/>
              <a:defRPr sz="5000" b="1"/>
            </a:lvl3pPr>
            <a:lvl4pPr>
              <a:buNone/>
              <a:defRPr sz="5000" b="1"/>
            </a:lvl4pPr>
            <a:lvl5pPr>
              <a:buNone/>
              <a:defRPr sz="5000" b="1"/>
            </a:lvl5pPr>
          </a:lstStyle>
          <a:p>
            <a:pPr lvl="0"/>
            <a:r>
              <a:rPr lang="en-GB" noProof="0"/>
              <a:t>Klik for at tilføje overskrif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1B75A34-4188-3A36-1862-F36B0419B6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74" y="3806977"/>
            <a:ext cx="11452225" cy="914400"/>
          </a:xfrm>
        </p:spPr>
        <p:txBody>
          <a:bodyPr/>
          <a:lstStyle>
            <a:lvl1pPr marL="0" indent="0" algn="ctr">
              <a:buNone/>
              <a:defRPr sz="3000" b="1">
                <a:solidFill>
                  <a:schemeClr val="bg2"/>
                </a:solidFill>
              </a:defRPr>
            </a:lvl1pPr>
            <a:lvl2pPr marL="230400" indent="0" algn="ctr">
              <a:buNone/>
              <a:defRPr sz="3000" b="1">
                <a:solidFill>
                  <a:schemeClr val="bg2"/>
                </a:solidFill>
              </a:defRPr>
            </a:lvl2pPr>
            <a:lvl3pPr marL="460800" indent="0" algn="ctr">
              <a:buNone/>
              <a:defRPr sz="3000" b="1">
                <a:solidFill>
                  <a:schemeClr val="bg2"/>
                </a:solidFill>
              </a:defRPr>
            </a:lvl3pPr>
            <a:lvl4pPr algn="ctr">
              <a:buNone/>
              <a:defRPr sz="3000" b="1">
                <a:solidFill>
                  <a:schemeClr val="bg2"/>
                </a:solidFill>
              </a:defRPr>
            </a:lvl4pPr>
            <a:lvl5pPr algn="ctr">
              <a:buNone/>
              <a:defRPr sz="3000" b="1">
                <a:solidFill>
                  <a:schemeClr val="bg2"/>
                </a:solidFill>
              </a:defRPr>
            </a:lvl5pPr>
          </a:lstStyle>
          <a:p>
            <a:r>
              <a:rPr lang="en-GB" b="1" noProof="0">
                <a:solidFill>
                  <a:schemeClr val="bg2"/>
                </a:solidFill>
              </a:rPr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0230685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54DAAE-F518-43C5-A70A-7309B9D5A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lik for at redigere titeltypografien i masteren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774781ED-53EC-4CC3-BBAE-1A889D8570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AP Pension | </a:t>
            </a:r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604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600" b="0" noProof="0">
                <a:solidFill>
                  <a:schemeClr val="bg1"/>
                </a:solidFill>
              </a:rPr>
              <a:t>Hvis du ser andre </a:t>
            </a:r>
            <a:r>
              <a:rPr lang="en-GB" sz="3600" b="1" i="1" noProof="0">
                <a:solidFill>
                  <a:schemeClr val="bg1"/>
                </a:solidFill>
              </a:rPr>
              <a:t>layouts efter dette,</a:t>
            </a:r>
            <a:br>
              <a:rPr lang="en-GB" sz="3600" b="0" i="0" noProof="0">
                <a:solidFill>
                  <a:schemeClr val="bg1"/>
                </a:solidFill>
              </a:rPr>
            </a:br>
            <a:r>
              <a:rPr lang="en-GB" sz="3600" b="0" noProof="0">
                <a:solidFill>
                  <a:schemeClr val="bg1"/>
                </a:solidFill>
              </a:rPr>
              <a:t>brug dem ikke. Disse layouts </a:t>
            </a:r>
            <a:r>
              <a:rPr lang="en-GB" sz="3600" b="1" i="1" u="none" noProof="0">
                <a:solidFill>
                  <a:schemeClr val="bg1"/>
                </a:solidFill>
              </a:rPr>
              <a:t>tilhører ikke </a:t>
            </a:r>
            <a:r>
              <a:rPr lang="en-GB" sz="3600" b="0" i="0" u="none" noProof="0">
                <a:solidFill>
                  <a:schemeClr val="bg1"/>
                </a:solidFill>
              </a:rPr>
              <a:t>vores </a:t>
            </a:r>
            <a:r>
              <a:rPr lang="en-GB" sz="3600" b="0" i="0" u="none" noProof="1">
                <a:solidFill>
                  <a:schemeClr val="bg1"/>
                </a:solidFill>
              </a:rPr>
              <a:t>corporate</a:t>
            </a:r>
            <a:r>
              <a:rPr lang="en-GB" sz="3600" b="0" noProof="0">
                <a:solidFill>
                  <a:schemeClr val="bg1"/>
                </a:solidFill>
              </a:rPr>
              <a:t>skabelon.</a:t>
            </a:r>
            <a:endParaRPr lang="en-GB" sz="20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9600" b="1" i="1" noProof="0">
                <a:solidFill>
                  <a:schemeClr val="bg1"/>
                </a:solidFill>
              </a:rPr>
              <a:t>Brug dem ikke </a:t>
            </a:r>
            <a:endParaRPr lang="en-GB" sz="9600" b="1" i="1" noProof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079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bg1"/>
                </a:solidFill>
              </a:rPr>
              <a:t>OBS! Layouts efter dette kan indeholde potentiel fortrolig information.</a:t>
            </a:r>
            <a:br>
              <a:rPr lang="en-GB" sz="1600" b="0" noProof="0">
                <a:solidFill>
                  <a:schemeClr val="bg1"/>
                </a:solidFill>
              </a:rPr>
            </a:br>
            <a:endParaRPr lang="en-GB" sz="16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17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ggrund">
            <a:extLst>
              <a:ext uri="{FF2B5EF4-FFF2-40B4-BE49-F238E27FC236}">
                <a16:creationId xmlns:a16="http://schemas.microsoft.com/office/drawing/2014/main" id="{57A5DDC1-5652-48D5-B29B-8B26DC127435}"/>
              </a:ext>
            </a:extLst>
          </p:cNvPr>
          <p:cNvSpPr/>
          <p:nvPr userDrawn="1"/>
        </p:nvSpPr>
        <p:spPr>
          <a:xfrm>
            <a:off x="0" y="0"/>
            <a:ext cx="4583359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26AAF9-35FA-8030-5B76-94C3EBB6EE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1" y="377824"/>
            <a:ext cx="3022599" cy="12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Agenda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A53C19E-FE48-4336-B750-958282276EBB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4111184" y="2222501"/>
            <a:ext cx="950400" cy="9504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BB9B08CF-B099-48FF-A641-1CD5E4D99C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37200" y="2184701"/>
            <a:ext cx="4927600" cy="1026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51CFBC49-7ECB-4490-B1EF-FD617B25103B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4111184" y="3774704"/>
            <a:ext cx="950400" cy="9504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5A89762E-E1EE-4ABD-BE42-EC28B2DCDE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37200" y="3736904"/>
            <a:ext cx="4927600" cy="1026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5412D2A1-C2F6-4C2B-91C2-67A5805D55B7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4111184" y="5322680"/>
            <a:ext cx="950400" cy="9504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D82E23B5-B682-485D-97FF-55052E941D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37200" y="5284880"/>
            <a:ext cx="4927600" cy="1026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07F6B5DD-DCF0-4C16-816E-5B36D2C386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en-GB" noProof="0"/>
              <a:t>AP Pension |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76399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ggrund">
            <a:extLst>
              <a:ext uri="{FF2B5EF4-FFF2-40B4-BE49-F238E27FC236}">
                <a16:creationId xmlns:a16="http://schemas.microsoft.com/office/drawing/2014/main" id="{9D208149-F2E5-70AC-2FE1-39C9EFE7AB5C}"/>
              </a:ext>
            </a:extLst>
          </p:cNvPr>
          <p:cNvSpPr/>
          <p:nvPr userDrawn="1"/>
        </p:nvSpPr>
        <p:spPr>
          <a:xfrm>
            <a:off x="0" y="0"/>
            <a:ext cx="4583359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536BEC-0C97-1EFD-FDBE-763F73160F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1" y="377824"/>
            <a:ext cx="3022599" cy="12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Agenda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77374C24-F577-47F0-B70B-A32084AB5AA5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4305497" y="17891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3074661-06E4-46FB-8F38-8728AF0A417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37200" y="1686588"/>
            <a:ext cx="5327650" cy="76320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33430DDC-55C8-4A46-B24B-BC0E223A31AC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4305497" y="27599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83FFB901-0903-478E-B3C2-47B2101F5A8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37200" y="2657388"/>
            <a:ext cx="5328000" cy="76320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FF3E05E9-D4F7-42B3-A892-09EB1A994FD6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4305497" y="3724113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1E8B025D-AFEF-4FD2-A006-0F8FF8505DC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37200" y="3621513"/>
            <a:ext cx="5328000" cy="76320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EA1B650B-6E14-4A47-AD5F-1C6D02ABB394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4305497" y="4693576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81D7850C-797F-4489-BCAD-0B614688FF4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37200" y="4590976"/>
            <a:ext cx="5328000" cy="76320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08F72F5E-855F-4E0E-B1F2-7F38BFBD8D15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4305497" y="56846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FFF53A09-D276-4617-9862-0C8C2ADCA58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137200" y="5582088"/>
            <a:ext cx="5328000" cy="76320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24" name="Pladsholder til slidenummer 23">
            <a:extLst>
              <a:ext uri="{FF2B5EF4-FFF2-40B4-BE49-F238E27FC236}">
                <a16:creationId xmlns:a16="http://schemas.microsoft.com/office/drawing/2014/main" id="{1F1B9BC2-8DB1-44B7-BC90-B8CEB7849AA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7363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3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     Agenda          10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19514-B2F8-4D21-89C9-B4090ABBF2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 noProof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9C5757D-03C5-43D2-8FF2-D159E6921889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763200" y="17891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1809202-44CB-44ED-8423-1AE0F0A2A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94800" y="16865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B20C86D1-C979-4793-9363-6D43C3E1D0CB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763200" y="27599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2C723485-2B9B-46DD-AD4C-EFAE28B0F7F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94800" y="26573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/>
              <a:t>Klik for at tilføje tekst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20D555A5-8155-414E-8E3D-BDEF0AC80FE2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763200" y="3724113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D6F3427C-273F-4200-B352-2C56832A4B5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94800" y="3621513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6937ECD4-7897-4986-BF71-7183FC49DD11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763200" y="4693576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DA803F0F-0C7B-45DA-9892-97EFE387340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594800" y="4590976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187F1BA8-33F3-4200-91B8-A72E56163F4E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763200" y="56846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D244112E-BE59-4D21-AE4F-07D5CD789CB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94800" y="55820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023AE2C3-317A-4281-8DF6-8CA89142C98B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325200" y="17891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1" name="Text Placeholder 18">
            <a:extLst>
              <a:ext uri="{FF2B5EF4-FFF2-40B4-BE49-F238E27FC236}">
                <a16:creationId xmlns:a16="http://schemas.microsoft.com/office/drawing/2014/main" id="{D1CDB673-7D4D-4CA8-8204-063A1B259D8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56800" y="16865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B1284DA2-52FE-49B7-A7CA-7111F7B90E6B}"/>
              </a:ext>
            </a:extLst>
          </p:cNvPr>
          <p:cNvSpPr>
            <a:spLocks noGrp="1" noChangeAspect="1"/>
          </p:cNvSpPr>
          <p:nvPr>
            <p:ph type="body" sz="quarter" idx="51" hasCustomPrompt="1"/>
          </p:nvPr>
        </p:nvSpPr>
        <p:spPr>
          <a:xfrm>
            <a:off x="6327533" y="27599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3" name="Text Placeholder 20">
            <a:extLst>
              <a:ext uri="{FF2B5EF4-FFF2-40B4-BE49-F238E27FC236}">
                <a16:creationId xmlns:a16="http://schemas.microsoft.com/office/drawing/2014/main" id="{894B06A4-6345-4C64-9683-1794EE03D87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56800" y="26573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C232AA9B-AEFB-4E0E-AA9C-900C7ADD6D2A}"/>
              </a:ext>
            </a:extLst>
          </p:cNvPr>
          <p:cNvSpPr>
            <a:spLocks noGrp="1" noChangeAspect="1"/>
          </p:cNvSpPr>
          <p:nvPr>
            <p:ph type="body" sz="quarter" idx="53" hasCustomPrompt="1"/>
          </p:nvPr>
        </p:nvSpPr>
        <p:spPr>
          <a:xfrm>
            <a:off x="6325821" y="3724113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8DF516EC-9E30-47EC-AF26-D9E48849364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56800" y="3621513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F582DF5B-9435-4E53-B8C1-F5850D11BEAC}"/>
              </a:ext>
            </a:extLst>
          </p:cNvPr>
          <p:cNvSpPr>
            <a:spLocks noGrp="1" noChangeAspect="1"/>
          </p:cNvSpPr>
          <p:nvPr>
            <p:ph type="body" sz="quarter" idx="55" hasCustomPrompt="1"/>
          </p:nvPr>
        </p:nvSpPr>
        <p:spPr>
          <a:xfrm>
            <a:off x="6325821" y="468823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7" name="Text Placeholder 24">
            <a:extLst>
              <a:ext uri="{FF2B5EF4-FFF2-40B4-BE49-F238E27FC236}">
                <a16:creationId xmlns:a16="http://schemas.microsoft.com/office/drawing/2014/main" id="{EBF588E8-AD23-4721-9D91-8C8C098059F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156800" y="458563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7C8522AA-7560-43F1-92A8-59CE9299D7FC}"/>
              </a:ext>
            </a:extLst>
          </p:cNvPr>
          <p:cNvSpPr>
            <a:spLocks noGrp="1" noChangeAspect="1"/>
          </p:cNvSpPr>
          <p:nvPr>
            <p:ph type="body" sz="quarter" idx="57" hasCustomPrompt="1"/>
          </p:nvPr>
        </p:nvSpPr>
        <p:spPr>
          <a:xfrm>
            <a:off x="6325821" y="5684688"/>
            <a:ext cx="558000" cy="558000"/>
          </a:xfrm>
          <a:prstGeom prst="ellipse">
            <a:avLst/>
          </a:prstGeom>
          <a:solidFill>
            <a:srgbClr val="FF4D1D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49" name="Text Placeholder 26">
            <a:extLst>
              <a:ext uri="{FF2B5EF4-FFF2-40B4-BE49-F238E27FC236}">
                <a16:creationId xmlns:a16="http://schemas.microsoft.com/office/drawing/2014/main" id="{5A943995-5CAA-4FD1-96E8-475FC1DA139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156800" y="5582088"/>
            <a:ext cx="4273200" cy="7632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</a:t>
            </a:r>
          </a:p>
        </p:txBody>
      </p:sp>
      <p:sp>
        <p:nvSpPr>
          <p:cNvPr id="24" name="Pladsholder til slidenummer 23">
            <a:extLst>
              <a:ext uri="{FF2B5EF4-FFF2-40B4-BE49-F238E27FC236}">
                <a16:creationId xmlns:a16="http://schemas.microsoft.com/office/drawing/2014/main" id="{1F1B9BC2-8DB1-44B7-BC90-B8CEB7849AA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D6B3D0-0CA1-FDAB-CE1F-7F504741AC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1" y="377824"/>
            <a:ext cx="10667999" cy="902639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57410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A4A3A4"/>
          </p15:clr>
        </p15:guide>
        <p15:guide id="2" pos="3984">
          <p15:clr>
            <a:srgbClr val="A4A3A4"/>
          </p15:clr>
        </p15:guide>
        <p15:guide id="3" pos="1004">
          <p15:clr>
            <a:srgbClr val="A4A3A4"/>
          </p15:clr>
        </p15:guide>
        <p15:guide id="4" pos="4508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l og tek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rund">
            <a:extLst>
              <a:ext uri="{FF2B5EF4-FFF2-40B4-BE49-F238E27FC236}">
                <a16:creationId xmlns:a16="http://schemas.microsoft.com/office/drawing/2014/main" id="{72353733-3652-49CC-9075-FC6677374119}"/>
              </a:ext>
            </a:extLst>
          </p:cNvPr>
          <p:cNvSpPr/>
          <p:nvPr userDrawn="1"/>
        </p:nvSpPr>
        <p:spPr>
          <a:xfrm>
            <a:off x="0" y="0"/>
            <a:ext cx="5867919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7B470A7-821B-4CCC-830F-6BB79F523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3975100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2AB62DE-A01D-48EF-AA91-974CB52495D0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5301335" y="1362429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F0A046-20F0-4FCA-9F45-C41151A6F98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26041" y="1299853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71E8AEA-30E7-405C-BD56-A9602D56949C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5301335" y="3034361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A2E3A29-F5D0-4960-BFF8-9283E560E0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26041" y="2971785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EBA748C-BCA6-421A-BAE2-2101FBD509BE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5301335" y="4706293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D8617A-18B9-4BE1-8460-9658510FAD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26041" y="4643717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2190EC9-9910-4905-8E9E-E6A61878092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91144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A4A3A4"/>
          </p15:clr>
        </p15:guide>
        <p15:guide id="2" pos="429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l og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>
            <a:extLst>
              <a:ext uri="{FF2B5EF4-FFF2-40B4-BE49-F238E27FC236}">
                <a16:creationId xmlns:a16="http://schemas.microsoft.com/office/drawing/2014/main" id="{59B86EE5-C322-49F2-805F-B2EC29FF9935}"/>
              </a:ext>
            </a:extLst>
          </p:cNvPr>
          <p:cNvSpPr/>
          <p:nvPr userDrawn="1"/>
        </p:nvSpPr>
        <p:spPr>
          <a:xfrm rot="16200000">
            <a:off x="6062664" y="182561"/>
            <a:ext cx="5934077" cy="6324601"/>
          </a:xfrm>
          <a:prstGeom prst="rect">
            <a:avLst/>
          </a:prstGeom>
          <a:solidFill>
            <a:srgbClr val="FF4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7B470A7-821B-4CCC-830F-6BB79F523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3975100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2AB62DE-A01D-48EF-AA91-974CB52495D0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5302800" y="1364400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F0A046-20F0-4FCA-9F45-C41151A6F98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25600" y="1299852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71E8AEA-30E7-405C-BD56-A9602D56949C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5302800" y="3034800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A2E3A29-F5D0-4960-BFF8-9283E560E0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25600" y="2973599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EBA748C-BCA6-421A-BAE2-2101FBD509BE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5302800" y="4706111"/>
            <a:ext cx="1134848" cy="1134848"/>
          </a:xfrm>
          <a:prstGeom prst="ellipse">
            <a:avLst/>
          </a:prstGeom>
          <a:solidFill>
            <a:srgbClr val="8A3F4C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D8617A-18B9-4BE1-8460-9658510FAD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25600" y="4643717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2190EC9-9910-4905-8E9E-E6A61878092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344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A4A3A4"/>
          </p15:clr>
        </p15:guide>
        <p15:guide id="3" pos="4299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 og tek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ggrund">
            <a:extLst>
              <a:ext uri="{FF2B5EF4-FFF2-40B4-BE49-F238E27FC236}">
                <a16:creationId xmlns:a16="http://schemas.microsoft.com/office/drawing/2014/main" id="{DD18A837-C084-3B8B-859A-8656BD2FF9F4}"/>
              </a:ext>
            </a:extLst>
          </p:cNvPr>
          <p:cNvSpPr/>
          <p:nvPr userDrawn="1"/>
        </p:nvSpPr>
        <p:spPr>
          <a:xfrm>
            <a:off x="0" y="0"/>
            <a:ext cx="5867919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7B470A7-821B-4CCC-830F-6BB79F523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3975100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2AB62DE-A01D-48EF-AA91-974CB52495D0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5267444" y="1326600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F0A046-20F0-4FCA-9F45-C41151A6F98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25600" y="1299600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71E8AEA-30E7-405C-BD56-A9602D56949C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5267444" y="3000600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A2E3A29-F5D0-4960-BFF8-9283E560E0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25600" y="2973600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EBA748C-BCA6-421A-BAE2-2101FBD509BE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5267444" y="4674600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D8617A-18B9-4BE1-8460-9658510FAD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25600" y="4643717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04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2190EC9-9910-4905-8E9E-E6A61878092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17CE651-8090-E259-DDB3-E458DC93989C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5470844" y="3204000"/>
            <a:ext cx="799200" cy="799200"/>
          </a:xfrm>
        </p:spPr>
        <p:txBody>
          <a:bodyPr wrap="none" l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45C5A19-EA2A-1239-4F87-E6D792730B7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470844" y="1530000"/>
            <a:ext cx="799200" cy="799200"/>
          </a:xfrm>
        </p:spPr>
        <p:txBody>
          <a:bodyPr wrap="none" lIns="0" r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BD223AC4-D863-8F03-D3EB-E9089759CDDF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5470844" y="4878000"/>
            <a:ext cx="799200" cy="799200"/>
          </a:xfrm>
        </p:spPr>
        <p:txBody>
          <a:bodyPr wrap="none" l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</p:spTree>
    <p:extLst>
      <p:ext uri="{BB962C8B-B14F-4D97-AF65-F5344CB8AC3E}">
        <p14:creationId xmlns:p14="http://schemas.microsoft.com/office/powerpoint/2010/main" val="236001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A4A3A4"/>
          </p15:clr>
        </p15:guide>
        <p15:guide id="2" pos="429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 og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ggrund">
            <a:extLst>
              <a:ext uri="{FF2B5EF4-FFF2-40B4-BE49-F238E27FC236}">
                <a16:creationId xmlns:a16="http://schemas.microsoft.com/office/drawing/2014/main" id="{00FDCE6C-BD31-C680-41B6-5E7CA9BCE93A}"/>
              </a:ext>
            </a:extLst>
          </p:cNvPr>
          <p:cNvSpPr/>
          <p:nvPr userDrawn="1"/>
        </p:nvSpPr>
        <p:spPr>
          <a:xfrm rot="16200000">
            <a:off x="6062664" y="182561"/>
            <a:ext cx="5934077" cy="6324601"/>
          </a:xfrm>
          <a:prstGeom prst="rect">
            <a:avLst/>
          </a:prstGeom>
          <a:solidFill>
            <a:srgbClr val="FF4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E7B470A7-821B-4CCC-830F-6BB79F523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77825"/>
            <a:ext cx="3975100" cy="1260000"/>
          </a:xfrm>
          <a:prstGeom prst="rect">
            <a:avLst/>
          </a:prstGeom>
        </p:spPr>
        <p:txBody>
          <a:bodyPr lIns="0" rIns="0" bIns="0" anchor="t" anchorCtr="0"/>
          <a:lstStyle>
            <a:lvl1pPr marL="0" indent="0" algn="l">
              <a:lnSpc>
                <a:spcPct val="100000"/>
              </a:lnSpc>
              <a:defRPr/>
            </a:lvl1pPr>
          </a:lstStyle>
          <a:p>
            <a:r>
              <a:rPr lang="en-GB" b="1" noProof="0"/>
              <a:t>Klik for at tilføje overskrift</a:t>
            </a:r>
            <a:endParaRPr lang="en-GB" noProof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2AB62DE-A01D-48EF-AA91-974CB52495D0}"/>
              </a:ext>
            </a:extLst>
          </p:cNvPr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5266800" y="1326599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F0A046-20F0-4FCA-9F45-C41151A6F98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24662" y="1299600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71E8AEA-30E7-405C-BD56-A9602D56949C}"/>
              </a:ext>
            </a:extLst>
          </p:cNvPr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5266800" y="3002400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A2E3A29-F5D0-4960-BFF8-9283E560E0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24662" y="2973600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EBA748C-BCA6-421A-BAE2-2101FBD509BE}"/>
              </a:ext>
            </a:extLst>
          </p:cNvPr>
          <p:cNvSpPr>
            <a:spLocks noGrp="1" noChangeAspect="1"/>
          </p:cNvSpPr>
          <p:nvPr>
            <p:ph type="body" sz="quarter" idx="43" hasCustomPrompt="1"/>
          </p:nvPr>
        </p:nvSpPr>
        <p:spPr>
          <a:xfrm>
            <a:off x="5266800" y="4676400"/>
            <a:ext cx="1206000" cy="1206000"/>
          </a:xfrm>
          <a:prstGeom prst="ellipse">
            <a:avLst/>
          </a:prstGeom>
          <a:solidFill>
            <a:srgbClr val="FCE5DB"/>
          </a:solidFill>
          <a:ln w="76200">
            <a:noFill/>
          </a:ln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noFill/>
              </a:defRPr>
            </a:lvl1pPr>
          </a:lstStyle>
          <a:p>
            <a:pPr lvl="0"/>
            <a:r>
              <a:rPr lang="en-GB"/>
              <a:t>Ikon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D8617A-18B9-4BE1-8460-9658510FAD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24662" y="4643717"/>
            <a:ext cx="4604400" cy="1260000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Klik for at tilføje tekst, maks. fire linjer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2190EC9-9910-4905-8E9E-E6A61878092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GB" noProof="0"/>
              <a:t>AP Pension </a:t>
            </a:r>
            <a:r>
              <a:rPr lang="en-GB" noProof="0">
                <a:solidFill>
                  <a:schemeClr val="bg2"/>
                </a:solidFill>
              </a:rPr>
              <a:t>|</a:t>
            </a:r>
            <a:r>
              <a:rPr lang="en-GB" noProof="0"/>
              <a:t> </a:t>
            </a:r>
            <a:fld id="{24C8C45C-947F-4981-8B3F-4F32E973C90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53D79BF2-8863-393B-1270-CAE263710099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5470200" y="3204000"/>
            <a:ext cx="799200" cy="799200"/>
          </a:xfrm>
        </p:spPr>
        <p:txBody>
          <a:bodyPr wrap="none" l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C1F59E61-5E7A-43D1-AEC4-28C22F061161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470200" y="1530000"/>
            <a:ext cx="799200" cy="799200"/>
          </a:xfrm>
        </p:spPr>
        <p:txBody>
          <a:bodyPr wrap="none" lIns="0" r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CE1138DB-8BEE-4588-6DC1-8A1783A30F6A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5470200" y="4878000"/>
            <a:ext cx="799200" cy="799200"/>
          </a:xfrm>
        </p:spPr>
        <p:txBody>
          <a:bodyPr wrap="none" lIns="0" bIns="1764000"/>
          <a:lstStyle>
            <a:lvl1pPr marL="0" indent="0" algn="ctr">
              <a:buNone/>
              <a:defRPr sz="1100"/>
            </a:lvl1pPr>
          </a:lstStyle>
          <a:p>
            <a:r>
              <a:rPr lang="en-GB" noProof="0"/>
              <a:t>Klik på pladsholderen og </a:t>
            </a:r>
            <a:br>
              <a:rPr lang="en-GB" noProof="0"/>
            </a:br>
            <a:r>
              <a:rPr lang="en-GB" noProof="0"/>
              <a:t>indsæt ikon via Image Shopper</a:t>
            </a:r>
          </a:p>
        </p:txBody>
      </p:sp>
    </p:spTree>
    <p:extLst>
      <p:ext uri="{BB962C8B-B14F-4D97-AF65-F5344CB8AC3E}">
        <p14:creationId xmlns:p14="http://schemas.microsoft.com/office/powerpoint/2010/main" val="356664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89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63" Type="http://schemas.openxmlformats.org/officeDocument/2006/relationships/tags" Target="../tags/tag35.xml"/><Relationship Id="rId68" Type="http://schemas.openxmlformats.org/officeDocument/2006/relationships/tags" Target="../tags/tag40.xml"/><Relationship Id="rId84" Type="http://schemas.openxmlformats.org/officeDocument/2006/relationships/tags" Target="../tags/tag56.xml"/><Relationship Id="rId89" Type="http://schemas.openxmlformats.org/officeDocument/2006/relationships/tags" Target="../tags/tag61.xml"/><Relationship Id="rId112" Type="http://schemas.openxmlformats.org/officeDocument/2006/relationships/tags" Target="../tags/tag84.xml"/><Relationship Id="rId133" Type="http://schemas.openxmlformats.org/officeDocument/2006/relationships/tags" Target="../tags/tag105.xml"/><Relationship Id="rId138" Type="http://schemas.openxmlformats.org/officeDocument/2006/relationships/tags" Target="../tags/tag110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79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53" Type="http://schemas.openxmlformats.org/officeDocument/2006/relationships/tags" Target="../tags/tag25.xml"/><Relationship Id="rId58" Type="http://schemas.openxmlformats.org/officeDocument/2006/relationships/tags" Target="../tags/tag30.xml"/><Relationship Id="rId74" Type="http://schemas.openxmlformats.org/officeDocument/2006/relationships/tags" Target="../tags/tag46.xml"/><Relationship Id="rId79" Type="http://schemas.openxmlformats.org/officeDocument/2006/relationships/tags" Target="../tags/tag51.xml"/><Relationship Id="rId102" Type="http://schemas.openxmlformats.org/officeDocument/2006/relationships/tags" Target="../tags/tag74.xml"/><Relationship Id="rId123" Type="http://schemas.openxmlformats.org/officeDocument/2006/relationships/tags" Target="../tags/tag95.xml"/><Relationship Id="rId128" Type="http://schemas.openxmlformats.org/officeDocument/2006/relationships/tags" Target="../tags/tag100.xml"/><Relationship Id="rId144" Type="http://schemas.openxmlformats.org/officeDocument/2006/relationships/tags" Target="../tags/tag116.xml"/><Relationship Id="rId149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2.xml"/><Relationship Id="rId95" Type="http://schemas.openxmlformats.org/officeDocument/2006/relationships/tags" Target="../tags/tag67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64" Type="http://schemas.openxmlformats.org/officeDocument/2006/relationships/tags" Target="../tags/tag36.xml"/><Relationship Id="rId69" Type="http://schemas.openxmlformats.org/officeDocument/2006/relationships/tags" Target="../tags/tag41.xml"/><Relationship Id="rId113" Type="http://schemas.openxmlformats.org/officeDocument/2006/relationships/tags" Target="../tags/tag85.xml"/><Relationship Id="rId118" Type="http://schemas.openxmlformats.org/officeDocument/2006/relationships/tags" Target="../tags/tag90.xml"/><Relationship Id="rId134" Type="http://schemas.openxmlformats.org/officeDocument/2006/relationships/tags" Target="../tags/tag106.xml"/><Relationship Id="rId139" Type="http://schemas.openxmlformats.org/officeDocument/2006/relationships/tags" Target="../tags/tag111.xml"/><Relationship Id="rId80" Type="http://schemas.openxmlformats.org/officeDocument/2006/relationships/tags" Target="../tags/tag52.xml"/><Relationship Id="rId85" Type="http://schemas.openxmlformats.org/officeDocument/2006/relationships/tags" Target="../tags/tag57.xml"/><Relationship Id="rId150" Type="http://schemas.openxmlformats.org/officeDocument/2006/relationships/oleObject" Target="../embeddings/oleObject2.bin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46" Type="http://schemas.openxmlformats.org/officeDocument/2006/relationships/tags" Target="../tags/tag18.xml"/><Relationship Id="rId59" Type="http://schemas.openxmlformats.org/officeDocument/2006/relationships/tags" Target="../tags/tag31.xml"/><Relationship Id="rId67" Type="http://schemas.openxmlformats.org/officeDocument/2006/relationships/tags" Target="../tags/tag39.xml"/><Relationship Id="rId103" Type="http://schemas.openxmlformats.org/officeDocument/2006/relationships/tags" Target="../tags/tag75.xml"/><Relationship Id="rId108" Type="http://schemas.openxmlformats.org/officeDocument/2006/relationships/tags" Target="../tags/tag80.xml"/><Relationship Id="rId116" Type="http://schemas.openxmlformats.org/officeDocument/2006/relationships/tags" Target="../tags/tag88.xml"/><Relationship Id="rId124" Type="http://schemas.openxmlformats.org/officeDocument/2006/relationships/tags" Target="../tags/tag96.xml"/><Relationship Id="rId129" Type="http://schemas.openxmlformats.org/officeDocument/2006/relationships/tags" Target="../tags/tag101.xml"/><Relationship Id="rId137" Type="http://schemas.openxmlformats.org/officeDocument/2006/relationships/tags" Target="../tags/tag109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62" Type="http://schemas.openxmlformats.org/officeDocument/2006/relationships/tags" Target="../tags/tag34.xml"/><Relationship Id="rId70" Type="http://schemas.openxmlformats.org/officeDocument/2006/relationships/tags" Target="../tags/tag42.xml"/><Relationship Id="rId75" Type="http://schemas.openxmlformats.org/officeDocument/2006/relationships/tags" Target="../tags/tag47.xml"/><Relationship Id="rId83" Type="http://schemas.openxmlformats.org/officeDocument/2006/relationships/tags" Target="../tags/tag55.xml"/><Relationship Id="rId88" Type="http://schemas.openxmlformats.org/officeDocument/2006/relationships/tags" Target="../tags/tag60.xml"/><Relationship Id="rId91" Type="http://schemas.openxmlformats.org/officeDocument/2006/relationships/tags" Target="../tags/tag63.xml"/><Relationship Id="rId96" Type="http://schemas.openxmlformats.org/officeDocument/2006/relationships/tags" Target="../tags/tag68.xml"/><Relationship Id="rId111" Type="http://schemas.openxmlformats.org/officeDocument/2006/relationships/tags" Target="../tags/tag83.xml"/><Relationship Id="rId132" Type="http://schemas.openxmlformats.org/officeDocument/2006/relationships/tags" Target="../tags/tag104.xml"/><Relationship Id="rId140" Type="http://schemas.openxmlformats.org/officeDocument/2006/relationships/tags" Target="../tags/tag112.xml"/><Relationship Id="rId145" Type="http://schemas.openxmlformats.org/officeDocument/2006/relationships/tags" Target="../tags/tag1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tags" Target="../tags/tag8.xml"/><Relationship Id="rId49" Type="http://schemas.openxmlformats.org/officeDocument/2006/relationships/tags" Target="../tags/tag21.xml"/><Relationship Id="rId57" Type="http://schemas.openxmlformats.org/officeDocument/2006/relationships/tags" Target="../tags/tag29.xml"/><Relationship Id="rId106" Type="http://schemas.openxmlformats.org/officeDocument/2006/relationships/tags" Target="../tags/tag78.xml"/><Relationship Id="rId114" Type="http://schemas.openxmlformats.org/officeDocument/2006/relationships/tags" Target="../tags/tag86.xml"/><Relationship Id="rId119" Type="http://schemas.openxmlformats.org/officeDocument/2006/relationships/tags" Target="../tags/tag91.xml"/><Relationship Id="rId127" Type="http://schemas.openxmlformats.org/officeDocument/2006/relationships/tags" Target="../tags/tag99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3.xml"/><Relationship Id="rId44" Type="http://schemas.openxmlformats.org/officeDocument/2006/relationships/tags" Target="../tags/tag16.xml"/><Relationship Id="rId52" Type="http://schemas.openxmlformats.org/officeDocument/2006/relationships/tags" Target="../tags/tag24.xml"/><Relationship Id="rId60" Type="http://schemas.openxmlformats.org/officeDocument/2006/relationships/tags" Target="../tags/tag32.xml"/><Relationship Id="rId65" Type="http://schemas.openxmlformats.org/officeDocument/2006/relationships/tags" Target="../tags/tag37.xml"/><Relationship Id="rId73" Type="http://schemas.openxmlformats.org/officeDocument/2006/relationships/tags" Target="../tags/tag45.xml"/><Relationship Id="rId78" Type="http://schemas.openxmlformats.org/officeDocument/2006/relationships/tags" Target="../tags/tag50.xml"/><Relationship Id="rId81" Type="http://schemas.openxmlformats.org/officeDocument/2006/relationships/tags" Target="../tags/tag53.xml"/><Relationship Id="rId86" Type="http://schemas.openxmlformats.org/officeDocument/2006/relationships/tags" Target="../tags/tag58.xml"/><Relationship Id="rId94" Type="http://schemas.openxmlformats.org/officeDocument/2006/relationships/tags" Target="../tags/tag66.xml"/><Relationship Id="rId99" Type="http://schemas.openxmlformats.org/officeDocument/2006/relationships/tags" Target="../tags/tag71.xml"/><Relationship Id="rId101" Type="http://schemas.openxmlformats.org/officeDocument/2006/relationships/tags" Target="../tags/tag73.xml"/><Relationship Id="rId122" Type="http://schemas.openxmlformats.org/officeDocument/2006/relationships/tags" Target="../tags/tag94.xml"/><Relationship Id="rId130" Type="http://schemas.openxmlformats.org/officeDocument/2006/relationships/tags" Target="../tags/tag102.xml"/><Relationship Id="rId135" Type="http://schemas.openxmlformats.org/officeDocument/2006/relationships/tags" Target="../tags/tag107.xml"/><Relationship Id="rId143" Type="http://schemas.openxmlformats.org/officeDocument/2006/relationships/tags" Target="../tags/tag115.xml"/><Relationship Id="rId148" Type="http://schemas.openxmlformats.org/officeDocument/2006/relationships/oleObject" Target="../embeddings/oleObject1.bin"/><Relationship Id="rId151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1.xml"/><Relationship Id="rId109" Type="http://schemas.openxmlformats.org/officeDocument/2006/relationships/tags" Target="../tags/tag81.xml"/><Relationship Id="rId34" Type="http://schemas.openxmlformats.org/officeDocument/2006/relationships/tags" Target="../tags/tag6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6" Type="http://schemas.openxmlformats.org/officeDocument/2006/relationships/tags" Target="../tags/tag48.xml"/><Relationship Id="rId97" Type="http://schemas.openxmlformats.org/officeDocument/2006/relationships/tags" Target="../tags/tag69.xml"/><Relationship Id="rId104" Type="http://schemas.openxmlformats.org/officeDocument/2006/relationships/tags" Target="../tags/tag76.xml"/><Relationship Id="rId120" Type="http://schemas.openxmlformats.org/officeDocument/2006/relationships/tags" Target="../tags/tag92.xml"/><Relationship Id="rId125" Type="http://schemas.openxmlformats.org/officeDocument/2006/relationships/tags" Target="../tags/tag97.xml"/><Relationship Id="rId141" Type="http://schemas.openxmlformats.org/officeDocument/2006/relationships/tags" Target="../tags/tag113.xml"/><Relationship Id="rId146" Type="http://schemas.openxmlformats.org/officeDocument/2006/relationships/tags" Target="../tags/tag118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3.xml"/><Relationship Id="rId92" Type="http://schemas.openxmlformats.org/officeDocument/2006/relationships/tags" Target="../tags/tag64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1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66" Type="http://schemas.openxmlformats.org/officeDocument/2006/relationships/tags" Target="../tags/tag38.xml"/><Relationship Id="rId87" Type="http://schemas.openxmlformats.org/officeDocument/2006/relationships/tags" Target="../tags/tag59.xml"/><Relationship Id="rId110" Type="http://schemas.openxmlformats.org/officeDocument/2006/relationships/tags" Target="../tags/tag82.xml"/><Relationship Id="rId115" Type="http://schemas.openxmlformats.org/officeDocument/2006/relationships/tags" Target="../tags/tag87.xml"/><Relationship Id="rId131" Type="http://schemas.openxmlformats.org/officeDocument/2006/relationships/tags" Target="../tags/tag103.xml"/><Relationship Id="rId136" Type="http://schemas.openxmlformats.org/officeDocument/2006/relationships/tags" Target="../tags/tag108.xml"/><Relationship Id="rId61" Type="http://schemas.openxmlformats.org/officeDocument/2006/relationships/tags" Target="../tags/tag33.xml"/><Relationship Id="rId82" Type="http://schemas.openxmlformats.org/officeDocument/2006/relationships/tags" Target="../tags/tag54.xml"/><Relationship Id="rId152" Type="http://schemas.openxmlformats.org/officeDocument/2006/relationships/oleObject" Target="../embeddings/oleObject4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56" Type="http://schemas.openxmlformats.org/officeDocument/2006/relationships/tags" Target="../tags/tag28.xml"/><Relationship Id="rId77" Type="http://schemas.openxmlformats.org/officeDocument/2006/relationships/tags" Target="../tags/tag49.xml"/><Relationship Id="rId100" Type="http://schemas.openxmlformats.org/officeDocument/2006/relationships/tags" Target="../tags/tag72.xml"/><Relationship Id="rId105" Type="http://schemas.openxmlformats.org/officeDocument/2006/relationships/tags" Target="../tags/tag77.xml"/><Relationship Id="rId126" Type="http://schemas.openxmlformats.org/officeDocument/2006/relationships/tags" Target="../tags/tag98.xml"/><Relationship Id="rId147" Type="http://schemas.openxmlformats.org/officeDocument/2006/relationships/tags" Target="../tags/tag119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3.xml"/><Relationship Id="rId72" Type="http://schemas.openxmlformats.org/officeDocument/2006/relationships/tags" Target="../tags/tag44.xml"/><Relationship Id="rId93" Type="http://schemas.openxmlformats.org/officeDocument/2006/relationships/tags" Target="../tags/tag65.xml"/><Relationship Id="rId98" Type="http://schemas.openxmlformats.org/officeDocument/2006/relationships/tags" Target="../tags/tag70.xml"/><Relationship Id="rId121" Type="http://schemas.openxmlformats.org/officeDocument/2006/relationships/tags" Target="../tags/tag93.xml"/><Relationship Id="rId142" Type="http://schemas.openxmlformats.org/officeDocument/2006/relationships/tags" Target="../tags/tag114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64A60-EE1F-451A-A1B7-CBEDD9DCD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64800" y="6480000"/>
            <a:ext cx="1357600" cy="15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1000" b="1" smtClean="0">
                <a:solidFill>
                  <a:srgbClr val="FF4D1D"/>
                </a:solidFill>
              </a:defRPr>
            </a:lvl1pPr>
          </a:lstStyle>
          <a:p>
            <a:r>
              <a:rPr lang="en-GB"/>
              <a:t>AP Pension | </a:t>
            </a:r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  <p:graphicFrame>
        <p:nvGraphicFramePr>
          <p:cNvPr id="7" name="Objekt 3" hidden="1">
            <a:extLst>
              <a:ext uri="{FF2B5EF4-FFF2-40B4-BE49-F238E27FC236}">
                <a16:creationId xmlns:a16="http://schemas.microsoft.com/office/drawing/2014/main" id="{BDECA055-A31F-4A60-92D6-D6FE9D563E60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950716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8" imgW="395" imgH="394" progId="TCLayout.ActiveDocument.1">
                  <p:embed/>
                </p:oleObj>
              </mc:Choice>
              <mc:Fallback>
                <p:oleObj name="think-cell Slide" r:id="rId148" imgW="395" imgH="394" progId="TCLayout.ActiveDocument.1">
                  <p:embed/>
                  <p:pic>
                    <p:nvPicPr>
                      <p:cNvPr id="7" name="Objekt 3" hidden="1">
                        <a:extLst>
                          <a:ext uri="{FF2B5EF4-FFF2-40B4-BE49-F238E27FC236}">
                            <a16:creationId xmlns:a16="http://schemas.microsoft.com/office/drawing/2014/main" id="{BDECA055-A31F-4A60-92D6-D6FE9D563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grid" hidden="1">
            <a:extLst>
              <a:ext uri="{FF2B5EF4-FFF2-40B4-BE49-F238E27FC236}">
                <a16:creationId xmlns:a16="http://schemas.microsoft.com/office/drawing/2014/main" id="{3DA16DC4-AC81-4ADE-AA1A-3ED1B10C0CAF}"/>
              </a:ext>
            </a:extLst>
          </p:cNvPr>
          <p:cNvGrpSpPr/>
          <p:nvPr/>
        </p:nvGrpSpPr>
        <p:grpSpPr>
          <a:xfrm>
            <a:off x="358775" y="377072"/>
            <a:ext cx="11462437" cy="5939591"/>
            <a:chOff x="540000" y="540000"/>
            <a:chExt cx="11112000" cy="5778000"/>
          </a:xfrm>
        </p:grpSpPr>
        <p:sp>
          <p:nvSpPr>
            <p:cNvPr id="9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59.92126&lt;/Width&gt;&#10;      &lt;Height&gt;454.960632&lt;/Height&gt;&#10;    &lt;/SubGrid&gt;&#10;    &lt;SubGrid&gt;&#10;      &lt;Left&gt;102.440948&lt;/Left&gt;&#10;      &lt;Top&gt;42.5196838&lt;/Top&gt;&#10;      &lt;Width&gt;14.1732283&lt;/Width&gt;&#10;      &lt;Height&gt;454.960632&lt;/Height&gt;&#10;    &lt;/SubGrid&gt;&#10;    &lt;SubGrid&gt;&#10;      &lt;Left&gt;116.614174&lt;/Left&gt;&#10;      &lt;Top&gt;42.5196838&lt;/Top&gt;&#10;      &lt;Width&gt;59.92126&lt;/Width&gt;&#10;      &lt;Height&gt;454.960632&lt;/Height&gt;&#10;    &lt;/SubGrid&gt;&#10;    &lt;SubGrid&gt;&#10;      &lt;Left&gt;176.535431&lt;/Left&gt;&#10;      &lt;Top&gt;42.5196838&lt;/Top&gt;&#10;      &lt;Width&gt;14.1732283&lt;/Width&gt;&#10;      &lt;Height&gt;454.960632&lt;/Height&gt;&#10;    &lt;/SubGrid&gt;&#10;    &lt;SubGrid&gt;&#10;      &lt;Left&gt;190.708664&lt;/Left&gt;&#10;      &lt;Top&gt;42.5196838&lt;/Top&gt;&#10;      &lt;Width&gt;59.92126&lt;/Width&gt;&#10;      &lt;Height&gt;454.960632&lt;/Height&gt;&#10;    &lt;/SubGrid&gt;&#10;    &lt;SubGrid&gt;&#10;      &lt;Left&gt;250.629929&lt;/Left&gt;&#10;      &lt;Top&gt;42.5196838&lt;/Top&gt;&#10;      &lt;Width&gt;14.1732283&lt;/Width&gt;&#10;      &lt;Height&gt;454.960632&lt;/Height&gt;&#10;    &lt;/SubGrid&gt;&#10;    &lt;SubGrid&gt;&#10;      &lt;Left&gt;264.803162&lt;/Left&gt;&#10;      &lt;Top&gt;42.5196838&lt;/Top&gt;&#10;      &lt;Width&gt;59.92126&lt;/Width&gt;&#10;      &lt;Height&gt;454.960632&lt;/Height&gt;&#10;    &lt;/SubGrid&gt;&#10;    &lt;SubGrid&gt;&#10;      &lt;Left&gt;324.7244&lt;/Left&gt;&#10;      &lt;Top&gt;42.5196838&lt;/Top&gt;&#10;      &lt;Width&gt;14.1732283&lt;/Width&gt;&#10;      &lt;Height&gt;454.960632&lt;/Height&gt;&#10;    &lt;/SubGrid&gt;&#10;    &lt;SubGrid&gt;&#10;      &lt;Left&gt;338.897644&lt;/Left&gt;&#10;      &lt;Top&gt;42.5196838&lt;/Top&gt;&#10;      &lt;Width&gt;59.92126&lt;/Width&gt;&#10;      &lt;Height&gt;454.960632&lt;/Height&gt;&#10;    &lt;/SubGrid&gt;&#10;    &lt;SubGrid&gt;&#10;      &lt;Left&gt;398.8189&lt;/Left&gt;&#10;      &lt;Top&gt;42.5196838&lt;/Top&gt;&#10;      &lt;Width&gt;14.1732283&lt;/Width&gt;&#10;      &lt;Height&gt;454.960632&lt;/Height&gt;&#10;    &lt;/SubGrid&gt;&#10;    &lt;SubGrid&gt;&#10;      &lt;Left&gt;412.992126&lt;/Left&gt;&#10;      &lt;Top&gt;42.5196838&lt;/Top&gt;&#10;      &lt;Width&gt;59.92126&lt;/Width&gt;&#10;      &lt;Height&gt;454.960632&lt;/Height&gt;&#10;    &lt;/SubGrid&gt;&#10;    &lt;SubGrid&gt;&#10;      &lt;Left&gt;472.9134&lt;/Left&gt;&#10;      &lt;Top&gt;42.5196838&lt;/Top&gt;&#10;      &lt;Width&gt;14.1732283&lt;/Width&gt;&#10;      &lt;Height&gt;454.960632&lt;/Height&gt;&#10;    &lt;/SubGrid&gt;&#10;    &lt;SubGrid&gt;&#10;      &lt;Left&gt;487.0866&lt;/Left&gt;&#10;      &lt;Top&gt;42.5196838&lt;/Top&gt;&#10;      &lt;Width&gt;59.92126&lt;/Width&gt;&#10;      &lt;Height&gt;454.960632&lt;/Height&gt;&#10;    &lt;/SubGrid&gt;&#10;    &lt;SubGrid&gt;&#10;      &lt;Left&gt;547.0079&lt;/Left&gt;&#10;      &lt;Top&gt;42.5196838&lt;/Top&gt;&#10;      &lt;Width&gt;14.1732283&lt;/Width&gt;&#10;      &lt;Height&gt;454.960632&lt;/Height&gt;&#10;    &lt;/SubGrid&gt;&#10;    &lt;SubGrid&gt;&#10;      &lt;Left&gt;561.1811&lt;/Left&gt;&#10;      &lt;Top&gt;42.5196838&lt;/Top&gt;&#10;      &lt;Width&gt;59.92126&lt;/Width&gt;&#10;      &lt;Height&gt;454.960632&lt;/Height&gt;&#10;    &lt;/SubGrid&gt;&#10;    &lt;SubGrid&gt;&#10;      &lt;Left&gt;621.102356&lt;/Left&gt;&#10;      &lt;Top&gt;42.5196838&lt;/Top&gt;&#10;      &lt;Width&gt;14.1732283&lt;/Width&gt;&#10;      &lt;Height&gt;454.960632&lt;/Height&gt;&#10;    &lt;/SubGrid&gt;&#10;    &lt;SubGrid&gt;&#10;      &lt;Left&gt;635.2756&lt;/Left&gt;&#10;      &lt;Top&gt;42.5196838&lt;/Top&gt;&#10;      &lt;Width&gt;59.92126&lt;/Width&gt;&#10;      &lt;Height&gt;454.960632&lt;/Height&gt;&#10;    &lt;/SubGrid&gt;&#10;    &lt;SubGrid&gt;&#10;      &lt;Left&gt;695.196838&lt;/Left&gt;&#10;      &lt;Top&gt;42.5196838&lt;/Top&gt;&#10;      &lt;Width&gt;14.1732283&lt;/Width&gt;&#10;      &lt;Height&gt;454.960632&lt;/Height&gt;&#10;    &lt;/SubGrid&gt;&#10;    &lt;SubGrid&gt;&#10;      &lt;Left&gt;709.370056&lt;/Left&gt;&#10;      &lt;Top&gt;42.5196838&lt;/Top&gt;&#10;      &lt;Width&gt;59.92126&lt;/Width&gt;&#10;      &lt;Height&gt;454.960632&lt;/Height&gt;&#10;    &lt;/SubGrid&gt;&#10;    &lt;SubGrid&gt;&#10;      &lt;Left&gt;769.2913&lt;/Left&gt;&#10;      &lt;Top&gt;42.5196838&lt;/Top&gt;&#10;      &lt;Width&gt;14.1732283&lt;/Width&gt;&#10;      &lt;Height&gt;454.960632&lt;/Height&gt;&#10;    &lt;/SubGrid&gt;&#10;    &lt;SubGrid&gt;&#10;      &lt;Left&gt;783.464539&lt;/Left&gt;&#10;      &lt;Top&gt;42.5196838&lt;/Top&gt;&#10;      &lt;Width&gt;59.92126&lt;/Width&gt;&#10;      &lt;Height&gt;454.960632&lt;/Height&gt;&#10;    &lt;/SubGrid&gt;&#10;    &lt;SubGrid&gt;&#10;      &lt;Left&gt;843.3858&lt;/Left&gt;&#10;      &lt;Top&gt;42.5196838&lt;/Top&gt;&#10;      &lt;Width&gt;14.1732283&lt;/Width&gt;&#10;      &lt;Height&gt;454.960632&lt;/Height&gt;&#10;    &lt;/SubGrid&gt;&#10;    &lt;SubGrid&gt;&#10;      &lt;Left&gt;857.5591&lt;/Left&gt;&#10;      &lt;Top&gt;42.5196838&lt;/Top&gt;&#10;      &lt;Width&gt;59.92126&lt;/Width&gt;&#10;      &lt;Height&gt;454.960632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>
              <a:extLst>
                <a:ext uri="{FF2B5EF4-FFF2-40B4-BE49-F238E27FC236}">
                  <a16:creationId xmlns:a16="http://schemas.microsoft.com/office/drawing/2014/main" id="{E3CA0EDE-146A-40FC-88EE-1F93E35F20E8}"/>
                </a:ext>
              </a:extLst>
            </p:cNvPr>
            <p:cNvSpPr/>
            <p:nvPr/>
          </p:nvSpPr>
          <p:spPr>
            <a:xfrm>
              <a:off x="540000" y="540000"/>
              <a:ext cx="11112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" name="Rectangle 12">
              <a:extLst>
                <a:ext uri="{FF2B5EF4-FFF2-40B4-BE49-F238E27FC236}">
                  <a16:creationId xmlns:a16="http://schemas.microsoft.com/office/drawing/2014/main" id="{18BEF0F1-78E1-4D7E-9424-3246BF95AE43}"/>
                </a:ext>
              </a:extLst>
            </p:cNvPr>
            <p:cNvSpPr/>
            <p:nvPr>
              <p:custDataLst>
                <p:tags r:id="rId125"/>
              </p:custDataLst>
            </p:nvPr>
          </p:nvSpPr>
          <p:spPr>
            <a:xfrm>
              <a:off x="54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1" name="Rectangle 13">
              <a:extLst>
                <a:ext uri="{FF2B5EF4-FFF2-40B4-BE49-F238E27FC236}">
                  <a16:creationId xmlns:a16="http://schemas.microsoft.com/office/drawing/2014/main" id="{6E1AA06A-61C7-45CA-BBFD-DAFDA1C1D37E}"/>
                </a:ext>
              </a:extLst>
            </p:cNvPr>
            <p:cNvSpPr/>
            <p:nvPr>
              <p:custDataLst>
                <p:tags r:id="rId126"/>
              </p:custDataLst>
            </p:nvPr>
          </p:nvSpPr>
          <p:spPr>
            <a:xfrm>
              <a:off x="130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2" name="Rectangle 14">
              <a:extLst>
                <a:ext uri="{FF2B5EF4-FFF2-40B4-BE49-F238E27FC236}">
                  <a16:creationId xmlns:a16="http://schemas.microsoft.com/office/drawing/2014/main" id="{8A36A5E7-4039-48CD-B896-682F3C146574}"/>
                </a:ext>
              </a:extLst>
            </p:cNvPr>
            <p:cNvSpPr/>
            <p:nvPr>
              <p:custDataLst>
                <p:tags r:id="rId127"/>
              </p:custDataLst>
            </p:nvPr>
          </p:nvSpPr>
          <p:spPr>
            <a:xfrm>
              <a:off x="148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9E6CA082-0208-4C3E-9A35-39CB4B2EF649}"/>
                </a:ext>
              </a:extLst>
            </p:cNvPr>
            <p:cNvSpPr/>
            <p:nvPr>
              <p:custDataLst>
                <p:tags r:id="rId128"/>
              </p:custDataLst>
            </p:nvPr>
          </p:nvSpPr>
          <p:spPr>
            <a:xfrm>
              <a:off x="2242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4" name="Rectangle 16">
              <a:extLst>
                <a:ext uri="{FF2B5EF4-FFF2-40B4-BE49-F238E27FC236}">
                  <a16:creationId xmlns:a16="http://schemas.microsoft.com/office/drawing/2014/main" id="{5B730D22-4680-4866-A358-D3331CB72A91}"/>
                </a:ext>
              </a:extLst>
            </p:cNvPr>
            <p:cNvSpPr/>
            <p:nvPr>
              <p:custDataLst>
                <p:tags r:id="rId129"/>
              </p:custDataLst>
            </p:nvPr>
          </p:nvSpPr>
          <p:spPr>
            <a:xfrm>
              <a:off x="2422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5" name="Rectangle 17">
              <a:extLst>
                <a:ext uri="{FF2B5EF4-FFF2-40B4-BE49-F238E27FC236}">
                  <a16:creationId xmlns:a16="http://schemas.microsoft.com/office/drawing/2014/main" id="{A6AA3782-4721-4D1D-8A0B-9DE8B6B1A0AE}"/>
                </a:ext>
              </a:extLst>
            </p:cNvPr>
            <p:cNvSpPr/>
            <p:nvPr>
              <p:custDataLst>
                <p:tags r:id="rId130"/>
              </p:custDataLst>
            </p:nvPr>
          </p:nvSpPr>
          <p:spPr>
            <a:xfrm>
              <a:off x="3183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6" name="Rectangle 18">
              <a:extLst>
                <a:ext uri="{FF2B5EF4-FFF2-40B4-BE49-F238E27FC236}">
                  <a16:creationId xmlns:a16="http://schemas.microsoft.com/office/drawing/2014/main" id="{4AFDC63B-4738-4CBA-89AC-89B565F777AF}"/>
                </a:ext>
              </a:extLst>
            </p:cNvPr>
            <p:cNvSpPr/>
            <p:nvPr>
              <p:custDataLst>
                <p:tags r:id="rId131"/>
              </p:custDataLst>
            </p:nvPr>
          </p:nvSpPr>
          <p:spPr>
            <a:xfrm>
              <a:off x="3363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7" name="Rectangle 19">
              <a:extLst>
                <a:ext uri="{FF2B5EF4-FFF2-40B4-BE49-F238E27FC236}">
                  <a16:creationId xmlns:a16="http://schemas.microsoft.com/office/drawing/2014/main" id="{D180E4B2-5D04-4A5C-88C7-803767ED1361}"/>
                </a:ext>
              </a:extLst>
            </p:cNvPr>
            <p:cNvSpPr/>
            <p:nvPr>
              <p:custDataLst>
                <p:tags r:id="rId132"/>
              </p:custDataLst>
            </p:nvPr>
          </p:nvSpPr>
          <p:spPr>
            <a:xfrm>
              <a:off x="4124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8" name="Rectangle 20">
              <a:extLst>
                <a:ext uri="{FF2B5EF4-FFF2-40B4-BE49-F238E27FC236}">
                  <a16:creationId xmlns:a16="http://schemas.microsoft.com/office/drawing/2014/main" id="{B0703382-AE5C-4EF1-BDCA-A637943918BD}"/>
                </a:ext>
              </a:extLst>
            </p:cNvPr>
            <p:cNvSpPr/>
            <p:nvPr>
              <p:custDataLst>
                <p:tags r:id="rId133"/>
              </p:custDataLst>
            </p:nvPr>
          </p:nvSpPr>
          <p:spPr>
            <a:xfrm>
              <a:off x="4304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9" name="Rectangle 21">
              <a:extLst>
                <a:ext uri="{FF2B5EF4-FFF2-40B4-BE49-F238E27FC236}">
                  <a16:creationId xmlns:a16="http://schemas.microsoft.com/office/drawing/2014/main" id="{5F443F39-2DB0-4CAE-AAA9-A33402CEC39C}"/>
                </a:ext>
              </a:extLst>
            </p:cNvPr>
            <p:cNvSpPr/>
            <p:nvPr>
              <p:custDataLst>
                <p:tags r:id="rId134"/>
              </p:custDataLst>
            </p:nvPr>
          </p:nvSpPr>
          <p:spPr>
            <a:xfrm>
              <a:off x="5065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0" name="Rectangle 22">
              <a:extLst>
                <a:ext uri="{FF2B5EF4-FFF2-40B4-BE49-F238E27FC236}">
                  <a16:creationId xmlns:a16="http://schemas.microsoft.com/office/drawing/2014/main" id="{7D16EDA4-7737-4BDF-8B73-B7832386B3BD}"/>
                </a:ext>
              </a:extLst>
            </p:cNvPr>
            <p:cNvSpPr/>
            <p:nvPr>
              <p:custDataLst>
                <p:tags r:id="rId135"/>
              </p:custDataLst>
            </p:nvPr>
          </p:nvSpPr>
          <p:spPr>
            <a:xfrm>
              <a:off x="5245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1" name="Rectangle 23">
              <a:extLst>
                <a:ext uri="{FF2B5EF4-FFF2-40B4-BE49-F238E27FC236}">
                  <a16:creationId xmlns:a16="http://schemas.microsoft.com/office/drawing/2014/main" id="{8B2076EA-9D23-4AF5-B25D-5138BEC6EFFD}"/>
                </a:ext>
              </a:extLst>
            </p:cNvPr>
            <p:cNvSpPr/>
            <p:nvPr>
              <p:custDataLst>
                <p:tags r:id="rId136"/>
              </p:custDataLst>
            </p:nvPr>
          </p:nvSpPr>
          <p:spPr>
            <a:xfrm>
              <a:off x="6006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2" name="Rectangle 24">
              <a:extLst>
                <a:ext uri="{FF2B5EF4-FFF2-40B4-BE49-F238E27FC236}">
                  <a16:creationId xmlns:a16="http://schemas.microsoft.com/office/drawing/2014/main" id="{1B3DE00A-095F-4A77-BEB2-3E79E1273F98}"/>
                </a:ext>
              </a:extLst>
            </p:cNvPr>
            <p:cNvSpPr/>
            <p:nvPr>
              <p:custDataLst>
                <p:tags r:id="rId137"/>
              </p:custDataLst>
            </p:nvPr>
          </p:nvSpPr>
          <p:spPr>
            <a:xfrm>
              <a:off x="6186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3" name="Rectangle 25">
              <a:extLst>
                <a:ext uri="{FF2B5EF4-FFF2-40B4-BE49-F238E27FC236}">
                  <a16:creationId xmlns:a16="http://schemas.microsoft.com/office/drawing/2014/main" id="{CC36ADB2-915C-4B4A-9D3E-BB1A38042A04}"/>
                </a:ext>
              </a:extLst>
            </p:cNvPr>
            <p:cNvSpPr/>
            <p:nvPr>
              <p:custDataLst>
                <p:tags r:id="rId138"/>
              </p:custDataLst>
            </p:nvPr>
          </p:nvSpPr>
          <p:spPr>
            <a:xfrm>
              <a:off x="6947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4" name="Rectangle 26">
              <a:extLst>
                <a:ext uri="{FF2B5EF4-FFF2-40B4-BE49-F238E27FC236}">
                  <a16:creationId xmlns:a16="http://schemas.microsoft.com/office/drawing/2014/main" id="{D13AAF0C-2CE6-4C25-BC60-7EB6E7795996}"/>
                </a:ext>
              </a:extLst>
            </p:cNvPr>
            <p:cNvSpPr/>
            <p:nvPr>
              <p:custDataLst>
                <p:tags r:id="rId139"/>
              </p:custDataLst>
            </p:nvPr>
          </p:nvSpPr>
          <p:spPr>
            <a:xfrm>
              <a:off x="7127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5" name="Rectangle 27">
              <a:extLst>
                <a:ext uri="{FF2B5EF4-FFF2-40B4-BE49-F238E27FC236}">
                  <a16:creationId xmlns:a16="http://schemas.microsoft.com/office/drawing/2014/main" id="{56B075F1-6F89-4442-BA8D-47D3040A78BB}"/>
                </a:ext>
              </a:extLst>
            </p:cNvPr>
            <p:cNvSpPr/>
            <p:nvPr>
              <p:custDataLst>
                <p:tags r:id="rId140"/>
              </p:custDataLst>
            </p:nvPr>
          </p:nvSpPr>
          <p:spPr>
            <a:xfrm>
              <a:off x="7888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6" name="Rectangle 28">
              <a:extLst>
                <a:ext uri="{FF2B5EF4-FFF2-40B4-BE49-F238E27FC236}">
                  <a16:creationId xmlns:a16="http://schemas.microsoft.com/office/drawing/2014/main" id="{D09C0F1F-409F-44E9-B731-EE84E6F6ED7C}"/>
                </a:ext>
              </a:extLst>
            </p:cNvPr>
            <p:cNvSpPr/>
            <p:nvPr>
              <p:custDataLst>
                <p:tags r:id="rId141"/>
              </p:custDataLst>
            </p:nvPr>
          </p:nvSpPr>
          <p:spPr>
            <a:xfrm>
              <a:off x="8068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7" name="Rectangle 29">
              <a:extLst>
                <a:ext uri="{FF2B5EF4-FFF2-40B4-BE49-F238E27FC236}">
                  <a16:creationId xmlns:a16="http://schemas.microsoft.com/office/drawing/2014/main" id="{DB727593-0221-4E5E-AEA3-8271D8ACDCF3}"/>
                </a:ext>
              </a:extLst>
            </p:cNvPr>
            <p:cNvSpPr/>
            <p:nvPr>
              <p:custDataLst>
                <p:tags r:id="rId142"/>
              </p:custDataLst>
            </p:nvPr>
          </p:nvSpPr>
          <p:spPr>
            <a:xfrm>
              <a:off x="8829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8" name="Rectangle 30">
              <a:extLst>
                <a:ext uri="{FF2B5EF4-FFF2-40B4-BE49-F238E27FC236}">
                  <a16:creationId xmlns:a16="http://schemas.microsoft.com/office/drawing/2014/main" id="{1F738047-0C43-4DA1-9DA7-BBCC63A920A6}"/>
                </a:ext>
              </a:extLst>
            </p:cNvPr>
            <p:cNvSpPr/>
            <p:nvPr>
              <p:custDataLst>
                <p:tags r:id="rId143"/>
              </p:custDataLst>
            </p:nvPr>
          </p:nvSpPr>
          <p:spPr>
            <a:xfrm>
              <a:off x="9009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29" name="Rectangle 31">
              <a:extLst>
                <a:ext uri="{FF2B5EF4-FFF2-40B4-BE49-F238E27FC236}">
                  <a16:creationId xmlns:a16="http://schemas.microsoft.com/office/drawing/2014/main" id="{74B86AEA-B977-403A-8155-76F4D810FF0B}"/>
                </a:ext>
              </a:extLst>
            </p:cNvPr>
            <p:cNvSpPr/>
            <p:nvPr>
              <p:custDataLst>
                <p:tags r:id="rId144"/>
              </p:custDataLst>
            </p:nvPr>
          </p:nvSpPr>
          <p:spPr>
            <a:xfrm>
              <a:off x="9770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0" name="Rectangle 32">
              <a:extLst>
                <a:ext uri="{FF2B5EF4-FFF2-40B4-BE49-F238E27FC236}">
                  <a16:creationId xmlns:a16="http://schemas.microsoft.com/office/drawing/2014/main" id="{0E681B6D-022B-4539-A667-A88CA787C0DF}"/>
                </a:ext>
              </a:extLst>
            </p:cNvPr>
            <p:cNvSpPr/>
            <p:nvPr>
              <p:custDataLst>
                <p:tags r:id="rId145"/>
              </p:custDataLst>
            </p:nvPr>
          </p:nvSpPr>
          <p:spPr>
            <a:xfrm>
              <a:off x="995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1" name="Rectangle 33">
              <a:extLst>
                <a:ext uri="{FF2B5EF4-FFF2-40B4-BE49-F238E27FC236}">
                  <a16:creationId xmlns:a16="http://schemas.microsoft.com/office/drawing/2014/main" id="{2BA04819-6D5D-47A8-A4EA-F1B28B44BA3D}"/>
                </a:ext>
              </a:extLst>
            </p:cNvPr>
            <p:cNvSpPr/>
            <p:nvPr>
              <p:custDataLst>
                <p:tags r:id="rId146"/>
              </p:custDataLst>
            </p:nvPr>
          </p:nvSpPr>
          <p:spPr>
            <a:xfrm>
              <a:off x="1071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2" name="Rectangle 34">
              <a:extLst>
                <a:ext uri="{FF2B5EF4-FFF2-40B4-BE49-F238E27FC236}">
                  <a16:creationId xmlns:a16="http://schemas.microsoft.com/office/drawing/2014/main" id="{27695B30-359E-4A87-8075-96ECB3984C39}"/>
                </a:ext>
              </a:extLst>
            </p:cNvPr>
            <p:cNvSpPr/>
            <p:nvPr>
              <p:custDataLst>
                <p:tags r:id="rId147"/>
              </p:custDataLst>
            </p:nvPr>
          </p:nvSpPr>
          <p:spPr>
            <a:xfrm>
              <a:off x="1089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</p:grpSp>
      <p:graphicFrame>
        <p:nvGraphicFramePr>
          <p:cNvPr id="33" name="Objekt 3" hidden="1">
            <a:extLst>
              <a:ext uri="{FF2B5EF4-FFF2-40B4-BE49-F238E27FC236}">
                <a16:creationId xmlns:a16="http://schemas.microsoft.com/office/drawing/2014/main" id="{5657C3A2-559A-41EA-B616-AEA5BEF2473F}"/>
              </a:ext>
            </a:extLst>
          </p:cNvPr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75255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0" imgW="395" imgH="394" progId="TCLayout.ActiveDocument.1">
                  <p:embed/>
                </p:oleObj>
              </mc:Choice>
              <mc:Fallback>
                <p:oleObj name="think-cell Slide" r:id="rId150" imgW="395" imgH="394" progId="TCLayout.ActiveDocument.1">
                  <p:embed/>
                  <p:pic>
                    <p:nvPicPr>
                      <p:cNvPr id="33" name="Objekt 3" hidden="1">
                        <a:extLst>
                          <a:ext uri="{FF2B5EF4-FFF2-40B4-BE49-F238E27FC236}">
                            <a16:creationId xmlns:a16="http://schemas.microsoft.com/office/drawing/2014/main" id="{5657C3A2-559A-41EA-B616-AEA5BEF24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grid" hidden="1">
            <a:extLst>
              <a:ext uri="{FF2B5EF4-FFF2-40B4-BE49-F238E27FC236}">
                <a16:creationId xmlns:a16="http://schemas.microsoft.com/office/drawing/2014/main" id="{C372E70D-D3D6-46B3-AC73-156B9FB36180}"/>
              </a:ext>
            </a:extLst>
          </p:cNvPr>
          <p:cNvGrpSpPr/>
          <p:nvPr/>
        </p:nvGrpSpPr>
        <p:grpSpPr>
          <a:xfrm>
            <a:off x="358775" y="377072"/>
            <a:ext cx="11462437" cy="5939591"/>
            <a:chOff x="540000" y="540000"/>
            <a:chExt cx="11112000" cy="5778000"/>
          </a:xfrm>
        </p:grpSpPr>
        <p:sp>
          <p:nvSpPr>
            <p:cNvPr id="35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59.92126&lt;/Width&gt;&#10;      &lt;Height&gt;454.960632&lt;/Height&gt;&#10;    &lt;/SubGrid&gt;&#10;    &lt;SubGrid&gt;&#10;      &lt;Left&gt;102.440948&lt;/Left&gt;&#10;      &lt;Top&gt;42.5196838&lt;/Top&gt;&#10;      &lt;Width&gt;14.1732283&lt;/Width&gt;&#10;      &lt;Height&gt;454.960632&lt;/Height&gt;&#10;    &lt;/SubGrid&gt;&#10;    &lt;SubGrid&gt;&#10;      &lt;Left&gt;116.614174&lt;/Left&gt;&#10;      &lt;Top&gt;42.5196838&lt;/Top&gt;&#10;      &lt;Width&gt;59.92126&lt;/Width&gt;&#10;      &lt;Height&gt;454.960632&lt;/Height&gt;&#10;    &lt;/SubGrid&gt;&#10;    &lt;SubGrid&gt;&#10;      &lt;Left&gt;176.535431&lt;/Left&gt;&#10;      &lt;Top&gt;42.5196838&lt;/Top&gt;&#10;      &lt;Width&gt;14.1732283&lt;/Width&gt;&#10;      &lt;Height&gt;454.960632&lt;/Height&gt;&#10;    &lt;/SubGrid&gt;&#10;    &lt;SubGrid&gt;&#10;      &lt;Left&gt;190.708664&lt;/Left&gt;&#10;      &lt;Top&gt;42.5196838&lt;/Top&gt;&#10;      &lt;Width&gt;59.92126&lt;/Width&gt;&#10;      &lt;Height&gt;454.960632&lt;/Height&gt;&#10;    &lt;/SubGrid&gt;&#10;    &lt;SubGrid&gt;&#10;      &lt;Left&gt;250.629929&lt;/Left&gt;&#10;      &lt;Top&gt;42.5196838&lt;/Top&gt;&#10;      &lt;Width&gt;14.1732283&lt;/Width&gt;&#10;      &lt;Height&gt;454.960632&lt;/Height&gt;&#10;    &lt;/SubGrid&gt;&#10;    &lt;SubGrid&gt;&#10;      &lt;Left&gt;264.803162&lt;/Left&gt;&#10;      &lt;Top&gt;42.5196838&lt;/Top&gt;&#10;      &lt;Width&gt;59.92126&lt;/Width&gt;&#10;      &lt;Height&gt;454.960632&lt;/Height&gt;&#10;    &lt;/SubGrid&gt;&#10;    &lt;SubGrid&gt;&#10;      &lt;Left&gt;324.7244&lt;/Left&gt;&#10;      &lt;Top&gt;42.5196838&lt;/Top&gt;&#10;      &lt;Width&gt;14.1732283&lt;/Width&gt;&#10;      &lt;Height&gt;454.960632&lt;/Height&gt;&#10;    &lt;/SubGrid&gt;&#10;    &lt;SubGrid&gt;&#10;      &lt;Left&gt;338.897644&lt;/Left&gt;&#10;      &lt;Top&gt;42.5196838&lt;/Top&gt;&#10;      &lt;Width&gt;59.92126&lt;/Width&gt;&#10;      &lt;Height&gt;454.960632&lt;/Height&gt;&#10;    &lt;/SubGrid&gt;&#10;    &lt;SubGrid&gt;&#10;      &lt;Left&gt;398.8189&lt;/Left&gt;&#10;      &lt;Top&gt;42.5196838&lt;/Top&gt;&#10;      &lt;Width&gt;14.1732283&lt;/Width&gt;&#10;      &lt;Height&gt;454.960632&lt;/Height&gt;&#10;    &lt;/SubGrid&gt;&#10;    &lt;SubGrid&gt;&#10;      &lt;Left&gt;412.992126&lt;/Left&gt;&#10;      &lt;Top&gt;42.5196838&lt;/Top&gt;&#10;      &lt;Width&gt;59.92126&lt;/Width&gt;&#10;      &lt;Height&gt;454.960632&lt;/Height&gt;&#10;    &lt;/SubGrid&gt;&#10;    &lt;SubGrid&gt;&#10;      &lt;Left&gt;472.9134&lt;/Left&gt;&#10;      &lt;Top&gt;42.5196838&lt;/Top&gt;&#10;      &lt;Width&gt;14.1732283&lt;/Width&gt;&#10;      &lt;Height&gt;454.960632&lt;/Height&gt;&#10;    &lt;/SubGrid&gt;&#10;    &lt;SubGrid&gt;&#10;      &lt;Left&gt;487.0866&lt;/Left&gt;&#10;      &lt;Top&gt;42.5196838&lt;/Top&gt;&#10;      &lt;Width&gt;59.92126&lt;/Width&gt;&#10;      &lt;Height&gt;454.960632&lt;/Height&gt;&#10;    &lt;/SubGrid&gt;&#10;    &lt;SubGrid&gt;&#10;      &lt;Left&gt;547.0079&lt;/Left&gt;&#10;      &lt;Top&gt;42.5196838&lt;/Top&gt;&#10;      &lt;Width&gt;14.1732283&lt;/Width&gt;&#10;      &lt;Height&gt;454.960632&lt;/Height&gt;&#10;    &lt;/SubGrid&gt;&#10;    &lt;SubGrid&gt;&#10;      &lt;Left&gt;561.1811&lt;/Left&gt;&#10;      &lt;Top&gt;42.5196838&lt;/Top&gt;&#10;      &lt;Width&gt;59.92126&lt;/Width&gt;&#10;      &lt;Height&gt;454.960632&lt;/Height&gt;&#10;    &lt;/SubGrid&gt;&#10;    &lt;SubGrid&gt;&#10;      &lt;Left&gt;621.102356&lt;/Left&gt;&#10;      &lt;Top&gt;42.5196838&lt;/Top&gt;&#10;      &lt;Width&gt;14.1732283&lt;/Width&gt;&#10;      &lt;Height&gt;454.960632&lt;/Height&gt;&#10;    &lt;/SubGrid&gt;&#10;    &lt;SubGrid&gt;&#10;      &lt;Left&gt;635.2756&lt;/Left&gt;&#10;      &lt;Top&gt;42.5196838&lt;/Top&gt;&#10;      &lt;Width&gt;59.92126&lt;/Width&gt;&#10;      &lt;Height&gt;454.960632&lt;/Height&gt;&#10;    &lt;/SubGrid&gt;&#10;    &lt;SubGrid&gt;&#10;      &lt;Left&gt;695.196838&lt;/Left&gt;&#10;      &lt;Top&gt;42.5196838&lt;/Top&gt;&#10;      &lt;Width&gt;14.1732283&lt;/Width&gt;&#10;      &lt;Height&gt;454.960632&lt;/Height&gt;&#10;    &lt;/SubGrid&gt;&#10;    &lt;SubGrid&gt;&#10;      &lt;Left&gt;709.370056&lt;/Left&gt;&#10;      &lt;Top&gt;42.5196838&lt;/Top&gt;&#10;      &lt;Width&gt;59.92126&lt;/Width&gt;&#10;      &lt;Height&gt;454.960632&lt;/Height&gt;&#10;    &lt;/SubGrid&gt;&#10;    &lt;SubGrid&gt;&#10;      &lt;Left&gt;769.2913&lt;/Left&gt;&#10;      &lt;Top&gt;42.5196838&lt;/Top&gt;&#10;      &lt;Width&gt;14.1732283&lt;/Width&gt;&#10;      &lt;Height&gt;454.960632&lt;/Height&gt;&#10;    &lt;/SubGrid&gt;&#10;    &lt;SubGrid&gt;&#10;      &lt;Left&gt;783.464539&lt;/Left&gt;&#10;      &lt;Top&gt;42.5196838&lt;/Top&gt;&#10;      &lt;Width&gt;59.92126&lt;/Width&gt;&#10;      &lt;Height&gt;454.960632&lt;/Height&gt;&#10;    &lt;/SubGrid&gt;&#10;    &lt;SubGrid&gt;&#10;      &lt;Left&gt;843.3858&lt;/Left&gt;&#10;      &lt;Top&gt;42.5196838&lt;/Top&gt;&#10;      &lt;Width&gt;14.1732283&lt;/Width&gt;&#10;      &lt;Height&gt;454.960632&lt;/Height&gt;&#10;    &lt;/SubGrid&gt;&#10;    &lt;SubGrid&gt;&#10;      &lt;Left&gt;857.5591&lt;/Left&gt;&#10;      &lt;Top&gt;42.5196838&lt;/Top&gt;&#10;      &lt;Width&gt;59.92126&lt;/Width&gt;&#10;      &lt;Height&gt;454.960632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>
              <a:extLst>
                <a:ext uri="{FF2B5EF4-FFF2-40B4-BE49-F238E27FC236}">
                  <a16:creationId xmlns:a16="http://schemas.microsoft.com/office/drawing/2014/main" id="{F80BFA6A-B744-4689-AD3E-FF4D09B7F160}"/>
                </a:ext>
              </a:extLst>
            </p:cNvPr>
            <p:cNvSpPr/>
            <p:nvPr/>
          </p:nvSpPr>
          <p:spPr>
            <a:xfrm>
              <a:off x="540000" y="540000"/>
              <a:ext cx="11112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ACB0912F-2576-4E49-87D3-49A5E06A3461}"/>
                </a:ext>
              </a:extLst>
            </p:cNvPr>
            <p:cNvSpPr/>
            <p:nvPr>
              <p:custDataLst>
                <p:tags r:id="rId102"/>
              </p:custDataLst>
            </p:nvPr>
          </p:nvSpPr>
          <p:spPr>
            <a:xfrm>
              <a:off x="54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7" name="Rectangle 13">
              <a:extLst>
                <a:ext uri="{FF2B5EF4-FFF2-40B4-BE49-F238E27FC236}">
                  <a16:creationId xmlns:a16="http://schemas.microsoft.com/office/drawing/2014/main" id="{84E9B4A5-2031-4BAE-A097-01D05B9F03AC}"/>
                </a:ext>
              </a:extLst>
            </p:cNvPr>
            <p:cNvSpPr/>
            <p:nvPr>
              <p:custDataLst>
                <p:tags r:id="rId103"/>
              </p:custDataLst>
            </p:nvPr>
          </p:nvSpPr>
          <p:spPr>
            <a:xfrm>
              <a:off x="130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71D7F903-7B7B-4BE2-A8C0-CB22DEE47E5D}"/>
                </a:ext>
              </a:extLst>
            </p:cNvPr>
            <p:cNvSpPr/>
            <p:nvPr>
              <p:custDataLst>
                <p:tags r:id="rId104"/>
              </p:custDataLst>
            </p:nvPr>
          </p:nvSpPr>
          <p:spPr>
            <a:xfrm>
              <a:off x="148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4E436077-BFDF-4C8A-930D-284614FD9758}"/>
                </a:ext>
              </a:extLst>
            </p:cNvPr>
            <p:cNvSpPr/>
            <p:nvPr>
              <p:custDataLst>
                <p:tags r:id="rId105"/>
              </p:custDataLst>
            </p:nvPr>
          </p:nvSpPr>
          <p:spPr>
            <a:xfrm>
              <a:off x="2242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0" name="Rectangle 16">
              <a:extLst>
                <a:ext uri="{FF2B5EF4-FFF2-40B4-BE49-F238E27FC236}">
                  <a16:creationId xmlns:a16="http://schemas.microsoft.com/office/drawing/2014/main" id="{2DE18CBE-E6D9-4623-9652-C73AF4B4D9D6}"/>
                </a:ext>
              </a:extLst>
            </p:cNvPr>
            <p:cNvSpPr/>
            <p:nvPr>
              <p:custDataLst>
                <p:tags r:id="rId106"/>
              </p:custDataLst>
            </p:nvPr>
          </p:nvSpPr>
          <p:spPr>
            <a:xfrm>
              <a:off x="2422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1" name="Rectangle 17">
              <a:extLst>
                <a:ext uri="{FF2B5EF4-FFF2-40B4-BE49-F238E27FC236}">
                  <a16:creationId xmlns:a16="http://schemas.microsoft.com/office/drawing/2014/main" id="{F164FB57-EB74-4B2B-B0FE-F58A29299CB1}"/>
                </a:ext>
              </a:extLst>
            </p:cNvPr>
            <p:cNvSpPr/>
            <p:nvPr>
              <p:custDataLst>
                <p:tags r:id="rId107"/>
              </p:custDataLst>
            </p:nvPr>
          </p:nvSpPr>
          <p:spPr>
            <a:xfrm>
              <a:off x="3183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2" name="Rectangle 18">
              <a:extLst>
                <a:ext uri="{FF2B5EF4-FFF2-40B4-BE49-F238E27FC236}">
                  <a16:creationId xmlns:a16="http://schemas.microsoft.com/office/drawing/2014/main" id="{849C917A-A77F-4DCD-BAAB-3479EF4DE521}"/>
                </a:ext>
              </a:extLst>
            </p:cNvPr>
            <p:cNvSpPr/>
            <p:nvPr>
              <p:custDataLst>
                <p:tags r:id="rId108"/>
              </p:custDataLst>
            </p:nvPr>
          </p:nvSpPr>
          <p:spPr>
            <a:xfrm>
              <a:off x="3363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3" name="Rectangle 19">
              <a:extLst>
                <a:ext uri="{FF2B5EF4-FFF2-40B4-BE49-F238E27FC236}">
                  <a16:creationId xmlns:a16="http://schemas.microsoft.com/office/drawing/2014/main" id="{B47A54FD-CDCF-41A0-A968-A8ADC9EA1789}"/>
                </a:ext>
              </a:extLst>
            </p:cNvPr>
            <p:cNvSpPr/>
            <p:nvPr>
              <p:custDataLst>
                <p:tags r:id="rId109"/>
              </p:custDataLst>
            </p:nvPr>
          </p:nvSpPr>
          <p:spPr>
            <a:xfrm>
              <a:off x="4124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id="{77259F47-6D39-42E6-9503-CCF4B6C05E17}"/>
                </a:ext>
              </a:extLst>
            </p:cNvPr>
            <p:cNvSpPr/>
            <p:nvPr>
              <p:custDataLst>
                <p:tags r:id="rId110"/>
              </p:custDataLst>
            </p:nvPr>
          </p:nvSpPr>
          <p:spPr>
            <a:xfrm>
              <a:off x="4304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id="{AEDFD02F-FD15-4FE0-8FA8-1732DF290797}"/>
                </a:ext>
              </a:extLst>
            </p:cNvPr>
            <p:cNvSpPr/>
            <p:nvPr>
              <p:custDataLst>
                <p:tags r:id="rId111"/>
              </p:custDataLst>
            </p:nvPr>
          </p:nvSpPr>
          <p:spPr>
            <a:xfrm>
              <a:off x="5065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149C14AE-9F0A-4D59-ABAA-68C000793F82}"/>
                </a:ext>
              </a:extLst>
            </p:cNvPr>
            <p:cNvSpPr/>
            <p:nvPr>
              <p:custDataLst>
                <p:tags r:id="rId112"/>
              </p:custDataLst>
            </p:nvPr>
          </p:nvSpPr>
          <p:spPr>
            <a:xfrm>
              <a:off x="5245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7" name="Rectangle 23">
              <a:extLst>
                <a:ext uri="{FF2B5EF4-FFF2-40B4-BE49-F238E27FC236}">
                  <a16:creationId xmlns:a16="http://schemas.microsoft.com/office/drawing/2014/main" id="{14BF1516-C1E6-4256-9168-1B4A155188EA}"/>
                </a:ext>
              </a:extLst>
            </p:cNvPr>
            <p:cNvSpPr/>
            <p:nvPr>
              <p:custDataLst>
                <p:tags r:id="rId113"/>
              </p:custDataLst>
            </p:nvPr>
          </p:nvSpPr>
          <p:spPr>
            <a:xfrm>
              <a:off x="6006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8" name="Rectangle 24">
              <a:extLst>
                <a:ext uri="{FF2B5EF4-FFF2-40B4-BE49-F238E27FC236}">
                  <a16:creationId xmlns:a16="http://schemas.microsoft.com/office/drawing/2014/main" id="{C5040F73-1D4C-4786-88C6-DD7336411B9F}"/>
                </a:ext>
              </a:extLst>
            </p:cNvPr>
            <p:cNvSpPr/>
            <p:nvPr>
              <p:custDataLst>
                <p:tags r:id="rId114"/>
              </p:custDataLst>
            </p:nvPr>
          </p:nvSpPr>
          <p:spPr>
            <a:xfrm>
              <a:off x="6186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49" name="Rectangle 25">
              <a:extLst>
                <a:ext uri="{FF2B5EF4-FFF2-40B4-BE49-F238E27FC236}">
                  <a16:creationId xmlns:a16="http://schemas.microsoft.com/office/drawing/2014/main" id="{4D1269FB-E0AA-42D7-92D9-0EB7562640C6}"/>
                </a:ext>
              </a:extLst>
            </p:cNvPr>
            <p:cNvSpPr/>
            <p:nvPr>
              <p:custDataLst>
                <p:tags r:id="rId115"/>
              </p:custDataLst>
            </p:nvPr>
          </p:nvSpPr>
          <p:spPr>
            <a:xfrm>
              <a:off x="6947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0" name="Rectangle 26">
              <a:extLst>
                <a:ext uri="{FF2B5EF4-FFF2-40B4-BE49-F238E27FC236}">
                  <a16:creationId xmlns:a16="http://schemas.microsoft.com/office/drawing/2014/main" id="{5C088811-8448-4F89-838A-823E15CA7224}"/>
                </a:ext>
              </a:extLst>
            </p:cNvPr>
            <p:cNvSpPr/>
            <p:nvPr>
              <p:custDataLst>
                <p:tags r:id="rId116"/>
              </p:custDataLst>
            </p:nvPr>
          </p:nvSpPr>
          <p:spPr>
            <a:xfrm>
              <a:off x="7127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1" name="Rectangle 27">
              <a:extLst>
                <a:ext uri="{FF2B5EF4-FFF2-40B4-BE49-F238E27FC236}">
                  <a16:creationId xmlns:a16="http://schemas.microsoft.com/office/drawing/2014/main" id="{195189B8-01F3-4CF9-924D-B2C3EEB592CC}"/>
                </a:ext>
              </a:extLst>
            </p:cNvPr>
            <p:cNvSpPr/>
            <p:nvPr>
              <p:custDataLst>
                <p:tags r:id="rId117"/>
              </p:custDataLst>
            </p:nvPr>
          </p:nvSpPr>
          <p:spPr>
            <a:xfrm>
              <a:off x="7888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2" name="Rectangle 28">
              <a:extLst>
                <a:ext uri="{FF2B5EF4-FFF2-40B4-BE49-F238E27FC236}">
                  <a16:creationId xmlns:a16="http://schemas.microsoft.com/office/drawing/2014/main" id="{1404028A-93CB-4AB7-9C62-88E9EB70B48E}"/>
                </a:ext>
              </a:extLst>
            </p:cNvPr>
            <p:cNvSpPr/>
            <p:nvPr>
              <p:custDataLst>
                <p:tags r:id="rId118"/>
              </p:custDataLst>
            </p:nvPr>
          </p:nvSpPr>
          <p:spPr>
            <a:xfrm>
              <a:off x="8068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3" name="Rectangle 29">
              <a:extLst>
                <a:ext uri="{FF2B5EF4-FFF2-40B4-BE49-F238E27FC236}">
                  <a16:creationId xmlns:a16="http://schemas.microsoft.com/office/drawing/2014/main" id="{191ECD1D-50BC-4695-A130-9BAD99AB92E4}"/>
                </a:ext>
              </a:extLst>
            </p:cNvPr>
            <p:cNvSpPr/>
            <p:nvPr>
              <p:custDataLst>
                <p:tags r:id="rId119"/>
              </p:custDataLst>
            </p:nvPr>
          </p:nvSpPr>
          <p:spPr>
            <a:xfrm>
              <a:off x="8829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4" name="Rectangle 30">
              <a:extLst>
                <a:ext uri="{FF2B5EF4-FFF2-40B4-BE49-F238E27FC236}">
                  <a16:creationId xmlns:a16="http://schemas.microsoft.com/office/drawing/2014/main" id="{B96562FD-FB0D-4340-AF3B-34B035368746}"/>
                </a:ext>
              </a:extLst>
            </p:cNvPr>
            <p:cNvSpPr/>
            <p:nvPr>
              <p:custDataLst>
                <p:tags r:id="rId120"/>
              </p:custDataLst>
            </p:nvPr>
          </p:nvSpPr>
          <p:spPr>
            <a:xfrm>
              <a:off x="9009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5" name="Rectangle 31">
              <a:extLst>
                <a:ext uri="{FF2B5EF4-FFF2-40B4-BE49-F238E27FC236}">
                  <a16:creationId xmlns:a16="http://schemas.microsoft.com/office/drawing/2014/main" id="{410DE01F-11A5-48BE-A3D0-CD4608C22703}"/>
                </a:ext>
              </a:extLst>
            </p:cNvPr>
            <p:cNvSpPr/>
            <p:nvPr>
              <p:custDataLst>
                <p:tags r:id="rId121"/>
              </p:custDataLst>
            </p:nvPr>
          </p:nvSpPr>
          <p:spPr>
            <a:xfrm>
              <a:off x="9770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6" name="Rectangle 32">
              <a:extLst>
                <a:ext uri="{FF2B5EF4-FFF2-40B4-BE49-F238E27FC236}">
                  <a16:creationId xmlns:a16="http://schemas.microsoft.com/office/drawing/2014/main" id="{C4B64DE4-0347-402A-842F-08C6109BA9F6}"/>
                </a:ext>
              </a:extLst>
            </p:cNvPr>
            <p:cNvSpPr/>
            <p:nvPr>
              <p:custDataLst>
                <p:tags r:id="rId122"/>
              </p:custDataLst>
            </p:nvPr>
          </p:nvSpPr>
          <p:spPr>
            <a:xfrm>
              <a:off x="995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7" name="Rectangle 33">
              <a:extLst>
                <a:ext uri="{FF2B5EF4-FFF2-40B4-BE49-F238E27FC236}">
                  <a16:creationId xmlns:a16="http://schemas.microsoft.com/office/drawing/2014/main" id="{AF570E46-94E9-4C38-A291-D80A988941F8}"/>
                </a:ext>
              </a:extLst>
            </p:cNvPr>
            <p:cNvSpPr/>
            <p:nvPr>
              <p:custDataLst>
                <p:tags r:id="rId123"/>
              </p:custDataLst>
            </p:nvPr>
          </p:nvSpPr>
          <p:spPr>
            <a:xfrm>
              <a:off x="1071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58" name="Rectangle 34">
              <a:extLst>
                <a:ext uri="{FF2B5EF4-FFF2-40B4-BE49-F238E27FC236}">
                  <a16:creationId xmlns:a16="http://schemas.microsoft.com/office/drawing/2014/main" id="{0539F3ED-3790-4E64-8DEC-408B76DFD0F3}"/>
                </a:ext>
              </a:extLst>
            </p:cNvPr>
            <p:cNvSpPr/>
            <p:nvPr>
              <p:custDataLst>
                <p:tags r:id="rId124"/>
              </p:custDataLst>
            </p:nvPr>
          </p:nvSpPr>
          <p:spPr>
            <a:xfrm>
              <a:off x="1089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</p:grpSp>
      <p:graphicFrame>
        <p:nvGraphicFramePr>
          <p:cNvPr id="59" name="Objekt 3" hidden="1">
            <a:extLst>
              <a:ext uri="{FF2B5EF4-FFF2-40B4-BE49-F238E27FC236}">
                <a16:creationId xmlns:a16="http://schemas.microsoft.com/office/drawing/2014/main" id="{38E602B2-30D8-4499-AEBA-BD41EC9A577C}"/>
              </a:ext>
            </a:extLst>
          </p:cNvPr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24421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1" imgW="395" imgH="394" progId="TCLayout.ActiveDocument.1">
                  <p:embed/>
                </p:oleObj>
              </mc:Choice>
              <mc:Fallback>
                <p:oleObj name="think-cell Slide" r:id="rId151" imgW="395" imgH="394" progId="TCLayout.ActiveDocument.1">
                  <p:embed/>
                  <p:pic>
                    <p:nvPicPr>
                      <p:cNvPr id="59" name="Objekt 3" hidden="1">
                        <a:extLst>
                          <a:ext uri="{FF2B5EF4-FFF2-40B4-BE49-F238E27FC236}">
                            <a16:creationId xmlns:a16="http://schemas.microsoft.com/office/drawing/2014/main" id="{38E602B2-30D8-4499-AEBA-BD41EC9A5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grid" hidden="1">
            <a:extLst>
              <a:ext uri="{FF2B5EF4-FFF2-40B4-BE49-F238E27FC236}">
                <a16:creationId xmlns:a16="http://schemas.microsoft.com/office/drawing/2014/main" id="{D16ACFFB-4AC5-489B-866F-74054CA12C1F}"/>
              </a:ext>
            </a:extLst>
          </p:cNvPr>
          <p:cNvGrpSpPr/>
          <p:nvPr/>
        </p:nvGrpSpPr>
        <p:grpSpPr>
          <a:xfrm>
            <a:off x="358775" y="377072"/>
            <a:ext cx="11462437" cy="5939591"/>
            <a:chOff x="540000" y="540000"/>
            <a:chExt cx="11112000" cy="5778000"/>
          </a:xfrm>
        </p:grpSpPr>
        <p:sp>
          <p:nvSpPr>
            <p:cNvPr id="61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59.92126&lt;/Width&gt;&#10;      &lt;Height&gt;454.960632&lt;/Height&gt;&#10;    &lt;/SubGrid&gt;&#10;    &lt;SubGrid&gt;&#10;      &lt;Left&gt;102.440948&lt;/Left&gt;&#10;      &lt;Top&gt;42.5196838&lt;/Top&gt;&#10;      &lt;Width&gt;14.1732283&lt;/Width&gt;&#10;      &lt;Height&gt;454.960632&lt;/Height&gt;&#10;    &lt;/SubGrid&gt;&#10;    &lt;SubGrid&gt;&#10;      &lt;Left&gt;116.614174&lt;/Left&gt;&#10;      &lt;Top&gt;42.5196838&lt;/Top&gt;&#10;      &lt;Width&gt;59.92126&lt;/Width&gt;&#10;      &lt;Height&gt;454.960632&lt;/Height&gt;&#10;    &lt;/SubGrid&gt;&#10;    &lt;SubGrid&gt;&#10;      &lt;Left&gt;176.535431&lt;/Left&gt;&#10;      &lt;Top&gt;42.5196838&lt;/Top&gt;&#10;      &lt;Width&gt;14.1732283&lt;/Width&gt;&#10;      &lt;Height&gt;454.960632&lt;/Height&gt;&#10;    &lt;/SubGrid&gt;&#10;    &lt;SubGrid&gt;&#10;      &lt;Left&gt;190.708664&lt;/Left&gt;&#10;      &lt;Top&gt;42.5196838&lt;/Top&gt;&#10;      &lt;Width&gt;59.92126&lt;/Width&gt;&#10;      &lt;Height&gt;454.960632&lt;/Height&gt;&#10;    &lt;/SubGrid&gt;&#10;    &lt;SubGrid&gt;&#10;      &lt;Left&gt;250.629929&lt;/Left&gt;&#10;      &lt;Top&gt;42.5196838&lt;/Top&gt;&#10;      &lt;Width&gt;14.1732283&lt;/Width&gt;&#10;      &lt;Height&gt;454.960632&lt;/Height&gt;&#10;    &lt;/SubGrid&gt;&#10;    &lt;SubGrid&gt;&#10;      &lt;Left&gt;264.803162&lt;/Left&gt;&#10;      &lt;Top&gt;42.5196838&lt;/Top&gt;&#10;      &lt;Width&gt;59.92126&lt;/Width&gt;&#10;      &lt;Height&gt;454.960632&lt;/Height&gt;&#10;    &lt;/SubGrid&gt;&#10;    &lt;SubGrid&gt;&#10;      &lt;Left&gt;324.7244&lt;/Left&gt;&#10;      &lt;Top&gt;42.5196838&lt;/Top&gt;&#10;      &lt;Width&gt;14.1732283&lt;/Width&gt;&#10;      &lt;Height&gt;454.960632&lt;/Height&gt;&#10;    &lt;/SubGrid&gt;&#10;    &lt;SubGrid&gt;&#10;      &lt;Left&gt;338.897644&lt;/Left&gt;&#10;      &lt;Top&gt;42.5196838&lt;/Top&gt;&#10;      &lt;Width&gt;59.92126&lt;/Width&gt;&#10;      &lt;Height&gt;454.960632&lt;/Height&gt;&#10;    &lt;/SubGrid&gt;&#10;    &lt;SubGrid&gt;&#10;      &lt;Left&gt;398.8189&lt;/Left&gt;&#10;      &lt;Top&gt;42.5196838&lt;/Top&gt;&#10;      &lt;Width&gt;14.1732283&lt;/Width&gt;&#10;      &lt;Height&gt;454.960632&lt;/Height&gt;&#10;    &lt;/SubGrid&gt;&#10;    &lt;SubGrid&gt;&#10;      &lt;Left&gt;412.992126&lt;/Left&gt;&#10;      &lt;Top&gt;42.5196838&lt;/Top&gt;&#10;      &lt;Width&gt;59.92126&lt;/Width&gt;&#10;      &lt;Height&gt;454.960632&lt;/Height&gt;&#10;    &lt;/SubGrid&gt;&#10;    &lt;SubGrid&gt;&#10;      &lt;Left&gt;472.9134&lt;/Left&gt;&#10;      &lt;Top&gt;42.5196838&lt;/Top&gt;&#10;      &lt;Width&gt;14.1732283&lt;/Width&gt;&#10;      &lt;Height&gt;454.960632&lt;/Height&gt;&#10;    &lt;/SubGrid&gt;&#10;    &lt;SubGrid&gt;&#10;      &lt;Left&gt;487.0866&lt;/Left&gt;&#10;      &lt;Top&gt;42.5196838&lt;/Top&gt;&#10;      &lt;Width&gt;59.92126&lt;/Width&gt;&#10;      &lt;Height&gt;454.960632&lt;/Height&gt;&#10;    &lt;/SubGrid&gt;&#10;    &lt;SubGrid&gt;&#10;      &lt;Left&gt;547.0079&lt;/Left&gt;&#10;      &lt;Top&gt;42.5196838&lt;/Top&gt;&#10;      &lt;Width&gt;14.1732283&lt;/Width&gt;&#10;      &lt;Height&gt;454.960632&lt;/Height&gt;&#10;    &lt;/SubGrid&gt;&#10;    &lt;SubGrid&gt;&#10;      &lt;Left&gt;561.1811&lt;/Left&gt;&#10;      &lt;Top&gt;42.5196838&lt;/Top&gt;&#10;      &lt;Width&gt;59.92126&lt;/Width&gt;&#10;      &lt;Height&gt;454.960632&lt;/Height&gt;&#10;    &lt;/SubGrid&gt;&#10;    &lt;SubGrid&gt;&#10;      &lt;Left&gt;621.102356&lt;/Left&gt;&#10;      &lt;Top&gt;42.5196838&lt;/Top&gt;&#10;      &lt;Width&gt;14.1732283&lt;/Width&gt;&#10;      &lt;Height&gt;454.960632&lt;/Height&gt;&#10;    &lt;/SubGrid&gt;&#10;    &lt;SubGrid&gt;&#10;      &lt;Left&gt;635.2756&lt;/Left&gt;&#10;      &lt;Top&gt;42.5196838&lt;/Top&gt;&#10;      &lt;Width&gt;59.92126&lt;/Width&gt;&#10;      &lt;Height&gt;454.960632&lt;/Height&gt;&#10;    &lt;/SubGrid&gt;&#10;    &lt;SubGrid&gt;&#10;      &lt;Left&gt;695.196838&lt;/Left&gt;&#10;      &lt;Top&gt;42.5196838&lt;/Top&gt;&#10;      &lt;Width&gt;14.1732283&lt;/Width&gt;&#10;      &lt;Height&gt;454.960632&lt;/Height&gt;&#10;    &lt;/SubGrid&gt;&#10;    &lt;SubGrid&gt;&#10;      &lt;Left&gt;709.370056&lt;/Left&gt;&#10;      &lt;Top&gt;42.5196838&lt;/Top&gt;&#10;      &lt;Width&gt;59.92126&lt;/Width&gt;&#10;      &lt;Height&gt;454.960632&lt;/Height&gt;&#10;    &lt;/SubGrid&gt;&#10;    &lt;SubGrid&gt;&#10;      &lt;Left&gt;769.2913&lt;/Left&gt;&#10;      &lt;Top&gt;42.5196838&lt;/Top&gt;&#10;      &lt;Width&gt;14.1732283&lt;/Width&gt;&#10;      &lt;Height&gt;454.960632&lt;/Height&gt;&#10;    &lt;/SubGrid&gt;&#10;    &lt;SubGrid&gt;&#10;      &lt;Left&gt;783.464539&lt;/Left&gt;&#10;      &lt;Top&gt;42.5196838&lt;/Top&gt;&#10;      &lt;Width&gt;59.92126&lt;/Width&gt;&#10;      &lt;Height&gt;454.960632&lt;/Height&gt;&#10;    &lt;/SubGrid&gt;&#10;    &lt;SubGrid&gt;&#10;      &lt;Left&gt;843.3858&lt;/Left&gt;&#10;      &lt;Top&gt;42.5196838&lt;/Top&gt;&#10;      &lt;Width&gt;14.1732283&lt;/Width&gt;&#10;      &lt;Height&gt;454.960632&lt;/Height&gt;&#10;    &lt;/SubGrid&gt;&#10;    &lt;SubGrid&gt;&#10;      &lt;Left&gt;857.5591&lt;/Left&gt;&#10;      &lt;Top&gt;42.5196838&lt;/Top&gt;&#10;      &lt;Width&gt;59.92126&lt;/Width&gt;&#10;      &lt;Height&gt;454.960632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>
              <a:extLst>
                <a:ext uri="{FF2B5EF4-FFF2-40B4-BE49-F238E27FC236}">
                  <a16:creationId xmlns:a16="http://schemas.microsoft.com/office/drawing/2014/main" id="{A719E71F-791E-4794-A330-4E1583B2B0D0}"/>
                </a:ext>
              </a:extLst>
            </p:cNvPr>
            <p:cNvSpPr/>
            <p:nvPr/>
          </p:nvSpPr>
          <p:spPr>
            <a:xfrm>
              <a:off x="540000" y="540000"/>
              <a:ext cx="11112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2" name="Rectangle 12">
              <a:extLst>
                <a:ext uri="{FF2B5EF4-FFF2-40B4-BE49-F238E27FC236}">
                  <a16:creationId xmlns:a16="http://schemas.microsoft.com/office/drawing/2014/main" id="{0FE09F83-A0F2-41E0-8F42-B7D5AFFBABBA}"/>
                </a:ext>
              </a:extLst>
            </p:cNvPr>
            <p:cNvSpPr/>
            <p:nvPr>
              <p:custDataLst>
                <p:tags r:id="rId79"/>
              </p:custDataLst>
            </p:nvPr>
          </p:nvSpPr>
          <p:spPr>
            <a:xfrm>
              <a:off x="54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3" name="Rectangle 13">
              <a:extLst>
                <a:ext uri="{FF2B5EF4-FFF2-40B4-BE49-F238E27FC236}">
                  <a16:creationId xmlns:a16="http://schemas.microsoft.com/office/drawing/2014/main" id="{10115B77-BC5A-41D9-BC3D-F529024E6A2A}"/>
                </a:ext>
              </a:extLst>
            </p:cNvPr>
            <p:cNvSpPr/>
            <p:nvPr>
              <p:custDataLst>
                <p:tags r:id="rId80"/>
              </p:custDataLst>
            </p:nvPr>
          </p:nvSpPr>
          <p:spPr>
            <a:xfrm>
              <a:off x="130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4" name="Rectangle 14">
              <a:extLst>
                <a:ext uri="{FF2B5EF4-FFF2-40B4-BE49-F238E27FC236}">
                  <a16:creationId xmlns:a16="http://schemas.microsoft.com/office/drawing/2014/main" id="{43984EF5-10FF-4F15-91D0-3754E5D25120}"/>
                </a:ext>
              </a:extLst>
            </p:cNvPr>
            <p:cNvSpPr/>
            <p:nvPr>
              <p:custDataLst>
                <p:tags r:id="rId81"/>
              </p:custDataLst>
            </p:nvPr>
          </p:nvSpPr>
          <p:spPr>
            <a:xfrm>
              <a:off x="148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29037DDF-0033-4898-9B05-2CCBF739048B}"/>
                </a:ext>
              </a:extLst>
            </p:cNvPr>
            <p:cNvSpPr/>
            <p:nvPr>
              <p:custDataLst>
                <p:tags r:id="rId82"/>
              </p:custDataLst>
            </p:nvPr>
          </p:nvSpPr>
          <p:spPr>
            <a:xfrm>
              <a:off x="2242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6" name="Rectangle 16">
              <a:extLst>
                <a:ext uri="{FF2B5EF4-FFF2-40B4-BE49-F238E27FC236}">
                  <a16:creationId xmlns:a16="http://schemas.microsoft.com/office/drawing/2014/main" id="{D0AB614B-9FB5-441D-80F2-BFE366B18C27}"/>
                </a:ext>
              </a:extLst>
            </p:cNvPr>
            <p:cNvSpPr/>
            <p:nvPr>
              <p:custDataLst>
                <p:tags r:id="rId83"/>
              </p:custDataLst>
            </p:nvPr>
          </p:nvSpPr>
          <p:spPr>
            <a:xfrm>
              <a:off x="2422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7" name="Rectangle 17">
              <a:extLst>
                <a:ext uri="{FF2B5EF4-FFF2-40B4-BE49-F238E27FC236}">
                  <a16:creationId xmlns:a16="http://schemas.microsoft.com/office/drawing/2014/main" id="{C578B8A9-574B-456D-AD59-AA4C3115A9B0}"/>
                </a:ext>
              </a:extLst>
            </p:cNvPr>
            <p:cNvSpPr/>
            <p:nvPr>
              <p:custDataLst>
                <p:tags r:id="rId84"/>
              </p:custDataLst>
            </p:nvPr>
          </p:nvSpPr>
          <p:spPr>
            <a:xfrm>
              <a:off x="3183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8" name="Rectangle 18">
              <a:extLst>
                <a:ext uri="{FF2B5EF4-FFF2-40B4-BE49-F238E27FC236}">
                  <a16:creationId xmlns:a16="http://schemas.microsoft.com/office/drawing/2014/main" id="{D2B39511-A167-4F63-8957-30FCA7E61282}"/>
                </a:ext>
              </a:extLst>
            </p:cNvPr>
            <p:cNvSpPr/>
            <p:nvPr>
              <p:custDataLst>
                <p:tags r:id="rId85"/>
              </p:custDataLst>
            </p:nvPr>
          </p:nvSpPr>
          <p:spPr>
            <a:xfrm>
              <a:off x="3363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69" name="Rectangle 19">
              <a:extLst>
                <a:ext uri="{FF2B5EF4-FFF2-40B4-BE49-F238E27FC236}">
                  <a16:creationId xmlns:a16="http://schemas.microsoft.com/office/drawing/2014/main" id="{D489B866-4C7B-44D8-9B76-55525707ADCA}"/>
                </a:ext>
              </a:extLst>
            </p:cNvPr>
            <p:cNvSpPr/>
            <p:nvPr>
              <p:custDataLst>
                <p:tags r:id="rId86"/>
              </p:custDataLst>
            </p:nvPr>
          </p:nvSpPr>
          <p:spPr>
            <a:xfrm>
              <a:off x="4124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0" name="Rectangle 20">
              <a:extLst>
                <a:ext uri="{FF2B5EF4-FFF2-40B4-BE49-F238E27FC236}">
                  <a16:creationId xmlns:a16="http://schemas.microsoft.com/office/drawing/2014/main" id="{AB743256-866B-4160-857B-2BE19D907D13}"/>
                </a:ext>
              </a:extLst>
            </p:cNvPr>
            <p:cNvSpPr/>
            <p:nvPr>
              <p:custDataLst>
                <p:tags r:id="rId87"/>
              </p:custDataLst>
            </p:nvPr>
          </p:nvSpPr>
          <p:spPr>
            <a:xfrm>
              <a:off x="4304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1" name="Rectangle 21">
              <a:extLst>
                <a:ext uri="{FF2B5EF4-FFF2-40B4-BE49-F238E27FC236}">
                  <a16:creationId xmlns:a16="http://schemas.microsoft.com/office/drawing/2014/main" id="{5E8B1D00-1271-4F56-95A9-E5149C76F967}"/>
                </a:ext>
              </a:extLst>
            </p:cNvPr>
            <p:cNvSpPr/>
            <p:nvPr>
              <p:custDataLst>
                <p:tags r:id="rId88"/>
              </p:custDataLst>
            </p:nvPr>
          </p:nvSpPr>
          <p:spPr>
            <a:xfrm>
              <a:off x="5065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2" name="Rectangle 22">
              <a:extLst>
                <a:ext uri="{FF2B5EF4-FFF2-40B4-BE49-F238E27FC236}">
                  <a16:creationId xmlns:a16="http://schemas.microsoft.com/office/drawing/2014/main" id="{AB6FD333-A363-4077-9235-D80CD1AC0014}"/>
                </a:ext>
              </a:extLst>
            </p:cNvPr>
            <p:cNvSpPr/>
            <p:nvPr>
              <p:custDataLst>
                <p:tags r:id="rId89"/>
              </p:custDataLst>
            </p:nvPr>
          </p:nvSpPr>
          <p:spPr>
            <a:xfrm>
              <a:off x="5245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3" name="Rectangle 23">
              <a:extLst>
                <a:ext uri="{FF2B5EF4-FFF2-40B4-BE49-F238E27FC236}">
                  <a16:creationId xmlns:a16="http://schemas.microsoft.com/office/drawing/2014/main" id="{2627AB37-1D4D-43C2-BBCF-E22E71C71980}"/>
                </a:ext>
              </a:extLst>
            </p:cNvPr>
            <p:cNvSpPr/>
            <p:nvPr>
              <p:custDataLst>
                <p:tags r:id="rId90"/>
              </p:custDataLst>
            </p:nvPr>
          </p:nvSpPr>
          <p:spPr>
            <a:xfrm>
              <a:off x="6006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4" name="Rectangle 24">
              <a:extLst>
                <a:ext uri="{FF2B5EF4-FFF2-40B4-BE49-F238E27FC236}">
                  <a16:creationId xmlns:a16="http://schemas.microsoft.com/office/drawing/2014/main" id="{FB9C0FC6-DEC9-43CA-BFA5-B86ACBC1D47A}"/>
                </a:ext>
              </a:extLst>
            </p:cNvPr>
            <p:cNvSpPr/>
            <p:nvPr>
              <p:custDataLst>
                <p:tags r:id="rId91"/>
              </p:custDataLst>
            </p:nvPr>
          </p:nvSpPr>
          <p:spPr>
            <a:xfrm>
              <a:off x="6186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5" name="Rectangle 25">
              <a:extLst>
                <a:ext uri="{FF2B5EF4-FFF2-40B4-BE49-F238E27FC236}">
                  <a16:creationId xmlns:a16="http://schemas.microsoft.com/office/drawing/2014/main" id="{B0F0D0EF-959A-499A-9F51-C71CD8D8C166}"/>
                </a:ext>
              </a:extLst>
            </p:cNvPr>
            <p:cNvSpPr/>
            <p:nvPr>
              <p:custDataLst>
                <p:tags r:id="rId92"/>
              </p:custDataLst>
            </p:nvPr>
          </p:nvSpPr>
          <p:spPr>
            <a:xfrm>
              <a:off x="6947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6" name="Rectangle 26">
              <a:extLst>
                <a:ext uri="{FF2B5EF4-FFF2-40B4-BE49-F238E27FC236}">
                  <a16:creationId xmlns:a16="http://schemas.microsoft.com/office/drawing/2014/main" id="{60375DBC-771E-4957-B638-54C8127D2E51}"/>
                </a:ext>
              </a:extLst>
            </p:cNvPr>
            <p:cNvSpPr/>
            <p:nvPr>
              <p:custDataLst>
                <p:tags r:id="rId93"/>
              </p:custDataLst>
            </p:nvPr>
          </p:nvSpPr>
          <p:spPr>
            <a:xfrm>
              <a:off x="7127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7" name="Rectangle 27">
              <a:extLst>
                <a:ext uri="{FF2B5EF4-FFF2-40B4-BE49-F238E27FC236}">
                  <a16:creationId xmlns:a16="http://schemas.microsoft.com/office/drawing/2014/main" id="{A5C245AE-5E26-429C-A720-3D32B027F3EB}"/>
                </a:ext>
              </a:extLst>
            </p:cNvPr>
            <p:cNvSpPr/>
            <p:nvPr>
              <p:custDataLst>
                <p:tags r:id="rId94"/>
              </p:custDataLst>
            </p:nvPr>
          </p:nvSpPr>
          <p:spPr>
            <a:xfrm>
              <a:off x="7888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8" name="Rectangle 28">
              <a:extLst>
                <a:ext uri="{FF2B5EF4-FFF2-40B4-BE49-F238E27FC236}">
                  <a16:creationId xmlns:a16="http://schemas.microsoft.com/office/drawing/2014/main" id="{B1F27A26-2885-4570-B369-70E402F0ABF6}"/>
                </a:ext>
              </a:extLst>
            </p:cNvPr>
            <p:cNvSpPr/>
            <p:nvPr>
              <p:custDataLst>
                <p:tags r:id="rId95"/>
              </p:custDataLst>
            </p:nvPr>
          </p:nvSpPr>
          <p:spPr>
            <a:xfrm>
              <a:off x="8068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79" name="Rectangle 29">
              <a:extLst>
                <a:ext uri="{FF2B5EF4-FFF2-40B4-BE49-F238E27FC236}">
                  <a16:creationId xmlns:a16="http://schemas.microsoft.com/office/drawing/2014/main" id="{5407C0B7-F542-4974-B821-DF8C531F9B19}"/>
                </a:ext>
              </a:extLst>
            </p:cNvPr>
            <p:cNvSpPr/>
            <p:nvPr>
              <p:custDataLst>
                <p:tags r:id="rId96"/>
              </p:custDataLst>
            </p:nvPr>
          </p:nvSpPr>
          <p:spPr>
            <a:xfrm>
              <a:off x="8829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0" name="Rectangle 30">
              <a:extLst>
                <a:ext uri="{FF2B5EF4-FFF2-40B4-BE49-F238E27FC236}">
                  <a16:creationId xmlns:a16="http://schemas.microsoft.com/office/drawing/2014/main" id="{0F3CC6B0-2975-457A-AF98-C291DFEE2DD6}"/>
                </a:ext>
              </a:extLst>
            </p:cNvPr>
            <p:cNvSpPr/>
            <p:nvPr>
              <p:custDataLst>
                <p:tags r:id="rId97"/>
              </p:custDataLst>
            </p:nvPr>
          </p:nvSpPr>
          <p:spPr>
            <a:xfrm>
              <a:off x="9009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1" name="Rectangle 31">
              <a:extLst>
                <a:ext uri="{FF2B5EF4-FFF2-40B4-BE49-F238E27FC236}">
                  <a16:creationId xmlns:a16="http://schemas.microsoft.com/office/drawing/2014/main" id="{37BAD3B0-7F15-43F2-A70D-B8224D4AC776}"/>
                </a:ext>
              </a:extLst>
            </p:cNvPr>
            <p:cNvSpPr/>
            <p:nvPr>
              <p:custDataLst>
                <p:tags r:id="rId98"/>
              </p:custDataLst>
            </p:nvPr>
          </p:nvSpPr>
          <p:spPr>
            <a:xfrm>
              <a:off x="9770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2" name="Rectangle 32">
              <a:extLst>
                <a:ext uri="{FF2B5EF4-FFF2-40B4-BE49-F238E27FC236}">
                  <a16:creationId xmlns:a16="http://schemas.microsoft.com/office/drawing/2014/main" id="{374B1381-F470-4F4E-8C87-D9DB58BC6B03}"/>
                </a:ext>
              </a:extLst>
            </p:cNvPr>
            <p:cNvSpPr/>
            <p:nvPr>
              <p:custDataLst>
                <p:tags r:id="rId99"/>
              </p:custDataLst>
            </p:nvPr>
          </p:nvSpPr>
          <p:spPr>
            <a:xfrm>
              <a:off x="995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3" name="Rectangle 33">
              <a:extLst>
                <a:ext uri="{FF2B5EF4-FFF2-40B4-BE49-F238E27FC236}">
                  <a16:creationId xmlns:a16="http://schemas.microsoft.com/office/drawing/2014/main" id="{EA3E59A4-BFFB-4719-8C89-287D9BCDF5A1}"/>
                </a:ext>
              </a:extLst>
            </p:cNvPr>
            <p:cNvSpPr/>
            <p:nvPr>
              <p:custDataLst>
                <p:tags r:id="rId100"/>
              </p:custDataLst>
            </p:nvPr>
          </p:nvSpPr>
          <p:spPr>
            <a:xfrm>
              <a:off x="1071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4" name="Rectangle 34">
              <a:extLst>
                <a:ext uri="{FF2B5EF4-FFF2-40B4-BE49-F238E27FC236}">
                  <a16:creationId xmlns:a16="http://schemas.microsoft.com/office/drawing/2014/main" id="{BC13CEA8-A7C8-4BCD-9724-C690F398714A}"/>
                </a:ext>
              </a:extLst>
            </p:cNvPr>
            <p:cNvSpPr/>
            <p:nvPr>
              <p:custDataLst>
                <p:tags r:id="rId101"/>
              </p:custDataLst>
            </p:nvPr>
          </p:nvSpPr>
          <p:spPr>
            <a:xfrm>
              <a:off x="1089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</p:grpSp>
      <p:graphicFrame>
        <p:nvGraphicFramePr>
          <p:cNvPr id="85" name="Objekt 3" hidden="1">
            <a:extLst>
              <a:ext uri="{FF2B5EF4-FFF2-40B4-BE49-F238E27FC236}">
                <a16:creationId xmlns:a16="http://schemas.microsoft.com/office/drawing/2014/main" id="{6F71EC8E-FE3F-4668-AB54-F6AAAA704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693686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2" imgW="395" imgH="394" progId="TCLayout.ActiveDocument.1">
                  <p:embed/>
                </p:oleObj>
              </mc:Choice>
              <mc:Fallback>
                <p:oleObj name="think-cell Slide" r:id="rId152" imgW="395" imgH="394" progId="TCLayout.ActiveDocument.1">
                  <p:embed/>
                  <p:pic>
                    <p:nvPicPr>
                      <p:cNvPr id="85" name="Objekt 3" hidden="1">
                        <a:extLst>
                          <a:ext uri="{FF2B5EF4-FFF2-40B4-BE49-F238E27FC236}">
                            <a16:creationId xmlns:a16="http://schemas.microsoft.com/office/drawing/2014/main" id="{6F71EC8E-FE3F-4668-AB54-F6AAAA704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6" name="Group grid" hidden="1">
            <a:extLst>
              <a:ext uri="{FF2B5EF4-FFF2-40B4-BE49-F238E27FC236}">
                <a16:creationId xmlns:a16="http://schemas.microsoft.com/office/drawing/2014/main" id="{E6565B9E-9319-4CCF-ACB3-0DCF0FF59EDB}"/>
              </a:ext>
            </a:extLst>
          </p:cNvPr>
          <p:cNvGrpSpPr/>
          <p:nvPr userDrawn="1"/>
        </p:nvGrpSpPr>
        <p:grpSpPr>
          <a:xfrm>
            <a:off x="358775" y="377072"/>
            <a:ext cx="11462437" cy="5939591"/>
            <a:chOff x="540000" y="540000"/>
            <a:chExt cx="11112000" cy="5778000"/>
          </a:xfrm>
        </p:grpSpPr>
        <p:sp>
          <p:nvSpPr>
            <p:cNvPr id="88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59.92126&lt;/Width&gt;&#10;      &lt;Height&gt;454.960632&lt;/Height&gt;&#10;    &lt;/SubGrid&gt;&#10;    &lt;SubGrid&gt;&#10;      &lt;Left&gt;102.440948&lt;/Left&gt;&#10;      &lt;Top&gt;42.5196838&lt;/Top&gt;&#10;      &lt;Width&gt;14.1732283&lt;/Width&gt;&#10;      &lt;Height&gt;454.960632&lt;/Height&gt;&#10;    &lt;/SubGrid&gt;&#10;    &lt;SubGrid&gt;&#10;      &lt;Left&gt;116.614174&lt;/Left&gt;&#10;      &lt;Top&gt;42.5196838&lt;/Top&gt;&#10;      &lt;Width&gt;59.92126&lt;/Width&gt;&#10;      &lt;Height&gt;454.960632&lt;/Height&gt;&#10;    &lt;/SubGrid&gt;&#10;    &lt;SubGrid&gt;&#10;      &lt;Left&gt;176.535431&lt;/Left&gt;&#10;      &lt;Top&gt;42.5196838&lt;/Top&gt;&#10;      &lt;Width&gt;14.1732283&lt;/Width&gt;&#10;      &lt;Height&gt;454.960632&lt;/Height&gt;&#10;    &lt;/SubGrid&gt;&#10;    &lt;SubGrid&gt;&#10;      &lt;Left&gt;190.708664&lt;/Left&gt;&#10;      &lt;Top&gt;42.5196838&lt;/Top&gt;&#10;      &lt;Width&gt;59.92126&lt;/Width&gt;&#10;      &lt;Height&gt;454.960632&lt;/Height&gt;&#10;    &lt;/SubGrid&gt;&#10;    &lt;SubGrid&gt;&#10;      &lt;Left&gt;250.629929&lt;/Left&gt;&#10;      &lt;Top&gt;42.5196838&lt;/Top&gt;&#10;      &lt;Width&gt;14.1732283&lt;/Width&gt;&#10;      &lt;Height&gt;454.960632&lt;/Height&gt;&#10;    &lt;/SubGrid&gt;&#10;    &lt;SubGrid&gt;&#10;      &lt;Left&gt;264.803162&lt;/Left&gt;&#10;      &lt;Top&gt;42.5196838&lt;/Top&gt;&#10;      &lt;Width&gt;59.92126&lt;/Width&gt;&#10;      &lt;Height&gt;454.960632&lt;/Height&gt;&#10;    &lt;/SubGrid&gt;&#10;    &lt;SubGrid&gt;&#10;      &lt;Left&gt;324.7244&lt;/Left&gt;&#10;      &lt;Top&gt;42.5196838&lt;/Top&gt;&#10;      &lt;Width&gt;14.1732283&lt;/Width&gt;&#10;      &lt;Height&gt;454.960632&lt;/Height&gt;&#10;    &lt;/SubGrid&gt;&#10;    &lt;SubGrid&gt;&#10;      &lt;Left&gt;338.897644&lt;/Left&gt;&#10;      &lt;Top&gt;42.5196838&lt;/Top&gt;&#10;      &lt;Width&gt;59.92126&lt;/Width&gt;&#10;      &lt;Height&gt;454.960632&lt;/Height&gt;&#10;    &lt;/SubGrid&gt;&#10;    &lt;SubGrid&gt;&#10;      &lt;Left&gt;398.8189&lt;/Left&gt;&#10;      &lt;Top&gt;42.5196838&lt;/Top&gt;&#10;      &lt;Width&gt;14.1732283&lt;/Width&gt;&#10;      &lt;Height&gt;454.960632&lt;/Height&gt;&#10;    &lt;/SubGrid&gt;&#10;    &lt;SubGrid&gt;&#10;      &lt;Left&gt;412.992126&lt;/Left&gt;&#10;      &lt;Top&gt;42.5196838&lt;/Top&gt;&#10;      &lt;Width&gt;59.92126&lt;/Width&gt;&#10;      &lt;Height&gt;454.960632&lt;/Height&gt;&#10;    &lt;/SubGrid&gt;&#10;    &lt;SubGrid&gt;&#10;      &lt;Left&gt;472.9134&lt;/Left&gt;&#10;      &lt;Top&gt;42.5196838&lt;/Top&gt;&#10;      &lt;Width&gt;14.1732283&lt;/Width&gt;&#10;      &lt;Height&gt;454.960632&lt;/Height&gt;&#10;    &lt;/SubGrid&gt;&#10;    &lt;SubGrid&gt;&#10;      &lt;Left&gt;487.0866&lt;/Left&gt;&#10;      &lt;Top&gt;42.5196838&lt;/Top&gt;&#10;      &lt;Width&gt;59.92126&lt;/Width&gt;&#10;      &lt;Height&gt;454.960632&lt;/Height&gt;&#10;    &lt;/SubGrid&gt;&#10;    &lt;SubGrid&gt;&#10;      &lt;Left&gt;547.0079&lt;/Left&gt;&#10;      &lt;Top&gt;42.5196838&lt;/Top&gt;&#10;      &lt;Width&gt;14.1732283&lt;/Width&gt;&#10;      &lt;Height&gt;454.960632&lt;/Height&gt;&#10;    &lt;/SubGrid&gt;&#10;    &lt;SubGrid&gt;&#10;      &lt;Left&gt;561.1811&lt;/Left&gt;&#10;      &lt;Top&gt;42.5196838&lt;/Top&gt;&#10;      &lt;Width&gt;59.92126&lt;/Width&gt;&#10;      &lt;Height&gt;454.960632&lt;/Height&gt;&#10;    &lt;/SubGrid&gt;&#10;    &lt;SubGrid&gt;&#10;      &lt;Left&gt;621.102356&lt;/Left&gt;&#10;      &lt;Top&gt;42.5196838&lt;/Top&gt;&#10;      &lt;Width&gt;14.1732283&lt;/Width&gt;&#10;      &lt;Height&gt;454.960632&lt;/Height&gt;&#10;    &lt;/SubGrid&gt;&#10;    &lt;SubGrid&gt;&#10;      &lt;Left&gt;635.2756&lt;/Left&gt;&#10;      &lt;Top&gt;42.5196838&lt;/Top&gt;&#10;      &lt;Width&gt;59.92126&lt;/Width&gt;&#10;      &lt;Height&gt;454.960632&lt;/Height&gt;&#10;    &lt;/SubGrid&gt;&#10;    &lt;SubGrid&gt;&#10;      &lt;Left&gt;695.196838&lt;/Left&gt;&#10;      &lt;Top&gt;42.5196838&lt;/Top&gt;&#10;      &lt;Width&gt;14.1732283&lt;/Width&gt;&#10;      &lt;Height&gt;454.960632&lt;/Height&gt;&#10;    &lt;/SubGrid&gt;&#10;    &lt;SubGrid&gt;&#10;      &lt;Left&gt;709.370056&lt;/Left&gt;&#10;      &lt;Top&gt;42.5196838&lt;/Top&gt;&#10;      &lt;Width&gt;59.92126&lt;/Width&gt;&#10;      &lt;Height&gt;454.960632&lt;/Height&gt;&#10;    &lt;/SubGrid&gt;&#10;    &lt;SubGrid&gt;&#10;      &lt;Left&gt;769.2913&lt;/Left&gt;&#10;      &lt;Top&gt;42.5196838&lt;/Top&gt;&#10;      &lt;Width&gt;14.1732283&lt;/Width&gt;&#10;      &lt;Height&gt;454.960632&lt;/Height&gt;&#10;    &lt;/SubGrid&gt;&#10;    &lt;SubGrid&gt;&#10;      &lt;Left&gt;783.464539&lt;/Left&gt;&#10;      &lt;Top&gt;42.5196838&lt;/Top&gt;&#10;      &lt;Width&gt;59.92126&lt;/Width&gt;&#10;      &lt;Height&gt;454.960632&lt;/Height&gt;&#10;    &lt;/SubGrid&gt;&#10;    &lt;SubGrid&gt;&#10;      &lt;Left&gt;843.3858&lt;/Left&gt;&#10;      &lt;Top&gt;42.5196838&lt;/Top&gt;&#10;      &lt;Width&gt;14.1732283&lt;/Width&gt;&#10;      &lt;Height&gt;454.960632&lt;/Height&gt;&#10;    &lt;/SubGrid&gt;&#10;    &lt;SubGrid&gt;&#10;      &lt;Left&gt;857.5591&lt;/Left&gt;&#10;      &lt;Top&gt;42.5196838&lt;/Top&gt;&#10;      &lt;Width&gt;59.92126&lt;/Width&gt;&#10;      &lt;Height&gt;454.960632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>
              <a:extLst>
                <a:ext uri="{FF2B5EF4-FFF2-40B4-BE49-F238E27FC236}">
                  <a16:creationId xmlns:a16="http://schemas.microsoft.com/office/drawing/2014/main" id="{13158E34-63CE-40B0-B3FC-053E32275251}"/>
                </a:ext>
              </a:extLst>
            </p:cNvPr>
            <p:cNvSpPr/>
            <p:nvPr/>
          </p:nvSpPr>
          <p:spPr>
            <a:xfrm>
              <a:off x="540000" y="540000"/>
              <a:ext cx="11112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89" name="Rectangle 12">
              <a:extLst>
                <a:ext uri="{FF2B5EF4-FFF2-40B4-BE49-F238E27FC236}">
                  <a16:creationId xmlns:a16="http://schemas.microsoft.com/office/drawing/2014/main" id="{8CE39968-27BA-4D2F-BA9E-0E94F373D438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54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0" name="Rectangle 13">
              <a:extLst>
                <a:ext uri="{FF2B5EF4-FFF2-40B4-BE49-F238E27FC236}">
                  <a16:creationId xmlns:a16="http://schemas.microsoft.com/office/drawing/2014/main" id="{07C5B1F3-9059-4874-ABE5-26293979037A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130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1" name="Rectangle 14">
              <a:extLst>
                <a:ext uri="{FF2B5EF4-FFF2-40B4-BE49-F238E27FC236}">
                  <a16:creationId xmlns:a16="http://schemas.microsoft.com/office/drawing/2014/main" id="{72CAC63F-F62B-42E2-AA7A-D9D1973EA661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148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2" name="Rectangle 15">
              <a:extLst>
                <a:ext uri="{FF2B5EF4-FFF2-40B4-BE49-F238E27FC236}">
                  <a16:creationId xmlns:a16="http://schemas.microsoft.com/office/drawing/2014/main" id="{F1042329-00AD-4AA7-AFA3-F4B7993F6740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>
            <a:xfrm>
              <a:off x="2242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3" name="Rectangle 16">
              <a:extLst>
                <a:ext uri="{FF2B5EF4-FFF2-40B4-BE49-F238E27FC236}">
                  <a16:creationId xmlns:a16="http://schemas.microsoft.com/office/drawing/2014/main" id="{D6D44D90-920E-414D-A7E9-D6E9880F6A13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>
            <a:xfrm>
              <a:off x="2422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4" name="Rectangle 17">
              <a:extLst>
                <a:ext uri="{FF2B5EF4-FFF2-40B4-BE49-F238E27FC236}">
                  <a16:creationId xmlns:a16="http://schemas.microsoft.com/office/drawing/2014/main" id="{417CB461-8ACA-48AF-8D58-C0D96AB7A7BC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>
            <a:xfrm>
              <a:off x="3183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5" name="Rectangle 18">
              <a:extLst>
                <a:ext uri="{FF2B5EF4-FFF2-40B4-BE49-F238E27FC236}">
                  <a16:creationId xmlns:a16="http://schemas.microsoft.com/office/drawing/2014/main" id="{86B1D695-B705-415F-B5E5-52A1AFDA9FA3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>
            <a:xfrm>
              <a:off x="3363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6" name="Rectangle 19">
              <a:extLst>
                <a:ext uri="{FF2B5EF4-FFF2-40B4-BE49-F238E27FC236}">
                  <a16:creationId xmlns:a16="http://schemas.microsoft.com/office/drawing/2014/main" id="{0E015AC3-D84C-4B48-A057-8C2AC9D0520C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>
            <a:xfrm>
              <a:off x="4124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7" name="Rectangle 20">
              <a:extLst>
                <a:ext uri="{FF2B5EF4-FFF2-40B4-BE49-F238E27FC236}">
                  <a16:creationId xmlns:a16="http://schemas.microsoft.com/office/drawing/2014/main" id="{E1E092A0-FEC7-4E4C-991C-C9077453AF6C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>
            <a:xfrm>
              <a:off x="4304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8" name="Rectangle 21">
              <a:extLst>
                <a:ext uri="{FF2B5EF4-FFF2-40B4-BE49-F238E27FC236}">
                  <a16:creationId xmlns:a16="http://schemas.microsoft.com/office/drawing/2014/main" id="{2582B0A9-7825-40B9-9212-8E7410374591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>
            <a:xfrm>
              <a:off x="5065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99" name="Rectangle 22">
              <a:extLst>
                <a:ext uri="{FF2B5EF4-FFF2-40B4-BE49-F238E27FC236}">
                  <a16:creationId xmlns:a16="http://schemas.microsoft.com/office/drawing/2014/main" id="{53F14FD8-1672-48A4-AFA2-0ECFC23CB4D6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>
            <a:xfrm>
              <a:off x="5245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0" name="Rectangle 23">
              <a:extLst>
                <a:ext uri="{FF2B5EF4-FFF2-40B4-BE49-F238E27FC236}">
                  <a16:creationId xmlns:a16="http://schemas.microsoft.com/office/drawing/2014/main" id="{8A88BECB-9F4F-444C-B8B8-D4B8434F7874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6006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1" name="Rectangle 24">
              <a:extLst>
                <a:ext uri="{FF2B5EF4-FFF2-40B4-BE49-F238E27FC236}">
                  <a16:creationId xmlns:a16="http://schemas.microsoft.com/office/drawing/2014/main" id="{1F2713C6-2D89-44EE-8373-CD5F0BD145EE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>
            <a:xfrm>
              <a:off x="6186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2" name="Rectangle 25">
              <a:extLst>
                <a:ext uri="{FF2B5EF4-FFF2-40B4-BE49-F238E27FC236}">
                  <a16:creationId xmlns:a16="http://schemas.microsoft.com/office/drawing/2014/main" id="{5DC0986B-6A91-433E-9F12-9C3BFF036A63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>
            <a:xfrm>
              <a:off x="6947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3" name="Rectangle 26">
              <a:extLst>
                <a:ext uri="{FF2B5EF4-FFF2-40B4-BE49-F238E27FC236}">
                  <a16:creationId xmlns:a16="http://schemas.microsoft.com/office/drawing/2014/main" id="{BAF3D539-41C4-438B-A922-50303BB05828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>
            <a:xfrm>
              <a:off x="7127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4" name="Rectangle 27">
              <a:extLst>
                <a:ext uri="{FF2B5EF4-FFF2-40B4-BE49-F238E27FC236}">
                  <a16:creationId xmlns:a16="http://schemas.microsoft.com/office/drawing/2014/main" id="{AF739741-4F36-456F-8E67-2E1A7554588C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>
            <a:xfrm>
              <a:off x="7888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5" name="Rectangle 28">
              <a:extLst>
                <a:ext uri="{FF2B5EF4-FFF2-40B4-BE49-F238E27FC236}">
                  <a16:creationId xmlns:a16="http://schemas.microsoft.com/office/drawing/2014/main" id="{DDA9AEED-A1D2-4D41-90FC-BE303AD1504F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>
            <a:xfrm>
              <a:off x="8068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6" name="Rectangle 29">
              <a:extLst>
                <a:ext uri="{FF2B5EF4-FFF2-40B4-BE49-F238E27FC236}">
                  <a16:creationId xmlns:a16="http://schemas.microsoft.com/office/drawing/2014/main" id="{1BFD9642-B48F-495D-965C-C20E9EE876B7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>
            <a:xfrm>
              <a:off x="8829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7" name="Rectangle 30">
              <a:extLst>
                <a:ext uri="{FF2B5EF4-FFF2-40B4-BE49-F238E27FC236}">
                  <a16:creationId xmlns:a16="http://schemas.microsoft.com/office/drawing/2014/main" id="{D85A0A11-6C08-4B0E-9822-FA39CE0C8800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>
            <a:xfrm>
              <a:off x="9009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8" name="Rectangle 31">
              <a:extLst>
                <a:ext uri="{FF2B5EF4-FFF2-40B4-BE49-F238E27FC236}">
                  <a16:creationId xmlns:a16="http://schemas.microsoft.com/office/drawing/2014/main" id="{A9CB881B-D23B-4869-A42E-5EBC5A4A6374}"/>
                </a:ext>
              </a:extLst>
            </p:cNvPr>
            <p:cNvSpPr/>
            <p:nvPr>
              <p:custDataLst>
                <p:tags r:id="rId75"/>
              </p:custDataLst>
            </p:nvPr>
          </p:nvSpPr>
          <p:spPr>
            <a:xfrm>
              <a:off x="9770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09" name="Rectangle 32">
              <a:extLst>
                <a:ext uri="{FF2B5EF4-FFF2-40B4-BE49-F238E27FC236}">
                  <a16:creationId xmlns:a16="http://schemas.microsoft.com/office/drawing/2014/main" id="{4BFC2056-EBF0-4B7A-BC26-1DEDB574A499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>
            <a:xfrm>
              <a:off x="9950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10" name="Rectangle 33">
              <a:extLst>
                <a:ext uri="{FF2B5EF4-FFF2-40B4-BE49-F238E27FC236}">
                  <a16:creationId xmlns:a16="http://schemas.microsoft.com/office/drawing/2014/main" id="{F9F72009-65C8-4F0E-AE6C-10180609AA9A}"/>
                </a:ext>
              </a:extLst>
            </p:cNvPr>
            <p:cNvSpPr/>
            <p:nvPr>
              <p:custDataLst>
                <p:tags r:id="rId77"/>
              </p:custDataLst>
            </p:nvPr>
          </p:nvSpPr>
          <p:spPr>
            <a:xfrm>
              <a:off x="10711000" y="540000"/>
              <a:ext cx="180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11" name="Rectangle 34">
              <a:extLst>
                <a:ext uri="{FF2B5EF4-FFF2-40B4-BE49-F238E27FC236}">
                  <a16:creationId xmlns:a16="http://schemas.microsoft.com/office/drawing/2014/main" id="{142625F1-28B0-4499-A25C-3697F7F29669}"/>
                </a:ext>
              </a:extLst>
            </p:cNvPr>
            <p:cNvSpPr/>
            <p:nvPr>
              <p:custDataLst>
                <p:tags r:id="rId78"/>
              </p:custDataLst>
            </p:nvPr>
          </p:nvSpPr>
          <p:spPr>
            <a:xfrm>
              <a:off x="10891000" y="540000"/>
              <a:ext cx="761000" cy="5778000"/>
            </a:xfrm>
            <a:prstGeom prst="rect">
              <a:avLst/>
            </a:prstGeom>
            <a:noFill/>
            <a:ln w="3175" cap="flat" cmpd="sng" algn="ctr">
              <a:solidFill>
                <a:srgbClr val="CCCCCC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</p:grp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B18D5B37-D1B4-4F24-A9D2-6C3A35A666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404800"/>
            <a:ext cx="10668000" cy="3907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fik</a:t>
            </a:r>
          </a:p>
        </p:txBody>
      </p:sp>
      <p:sp>
        <p:nvSpPr>
          <p:cNvPr id="3" name="[WorkArea]" descr="&lt;?xml version=&quot;1.0&quot; encoding=&quot;utf-16&quot;?&gt;&#10;&lt;GridTheme xmlns:xsi=&quot;http://www.w3.org/2001/XMLSchema-instance&quot; xmlns:xsd=&quot;http://www.w3.org/2001/XMLSchema&quot;&gt;&#10;  &lt;GuideLines&gt;&#10;    &lt;GuideLine&gt;&#10;      &lt;Orientation&gt;118&lt;/Orientation&gt;&#10;      &lt;Offset&gt;60&lt;/Offset&gt;&#10;    &lt;/GuideLine&gt;&#10;    &lt;GuideLine&gt;&#10;      &lt;Orientation&gt;118&lt;/Orientation&gt;&#10;      &lt;Offset&gt;73&lt;/Offset&gt;&#10;    &lt;/GuideLine&gt;&#10;    &lt;GuideLine&gt;&#10;      &lt;Orientation&gt;104&lt;/Orientation&gt;&#10;      &lt;Offset&gt;30&lt;/Offset&gt;&#10;    &lt;/GuideLine&gt;&#10;    &lt;GuideLine&gt;&#10;      &lt;Orientation&gt;104&lt;/Orientation&gt;&#10;      &lt;Offset&gt;497&lt;/Offset&gt;&#10;    &lt;/GuideLine&gt;&#10;    &lt;GuideLine&gt;&#10;      &lt;Orientation&gt;118&lt;/Orientation&gt;&#10;      &lt;Offset&gt;136&lt;/Offset&gt;&#10;    &lt;/GuideLine&gt;&#10;    &lt;GuideLine&gt;&#10;      &lt;Orientation&gt;118&lt;/Orientation&gt;&#10;      &lt;Offset&gt;148&lt;/Offset&gt;&#10;    &lt;/GuideLine&gt;&#10;    &lt;GuideLine&gt;&#10;      &lt;Orientation&gt;118&lt;/Orientation&gt;&#10;      &lt;Offset&gt;211&lt;/Offset&gt;&#10;    &lt;/GuideLine&gt;&#10;    &lt;GuideLine&gt;&#10;      &lt;Orientation&gt;118&lt;/Orientation&gt;&#10;      &lt;Offset&gt;223&lt;/Offset&gt;&#10;    &lt;/GuideLine&gt;&#10;    &lt;GuideLine&gt;&#10;      &lt;Orientation&gt;118&lt;/Orientation&gt;&#10;      &lt;Offset&gt;286&lt;/Offset&gt;&#10;    &lt;/GuideLine&gt;&#10;    &lt;GuideLine&gt;&#10;      &lt;Orientation&gt;118&lt;/Orientation&gt;&#10;      &lt;Offset&gt;298&lt;/Offset&gt;&#10;    &lt;/GuideLine&gt;&#10;    &lt;GuideLine&gt;&#10;      &lt;Orientation&gt;118&lt;/Orientation&gt;&#10;      &lt;Offset&gt;361&lt;/Offset&gt;&#10;    &lt;/GuideLine&gt;&#10;    &lt;GuideLine&gt;&#10;      &lt;Orientation&gt;118&lt;/Orientation&gt;&#10;      &lt;Offset&gt;373&lt;/Offset&gt;&#10;    &lt;/GuideLine&gt;&#10;    &lt;GuideLine&gt;&#10;      &lt;Orientation&gt;118&lt;/Orientation&gt;&#10;      &lt;Offset&gt;436&lt;/Offset&gt;&#10;    &lt;/GuideLine&gt;&#10;    &lt;GuideLine&gt;&#10;      &lt;Orientation&gt;118&lt;/Orientation&gt;&#10;      &lt;Offset&gt;449&lt;/Offset&gt;&#10;    &lt;/GuideLine&gt;&#10;    &lt;GuideLine&gt;&#10;      &lt;Orientation&gt;118&lt;/Orientation&gt;&#10;      &lt;Offset&gt;511&lt;/Offset&gt;&#10;    &lt;/GuideLine&gt;&#10;    &lt;GuideLine&gt;&#10;      &lt;Orientation&gt;118&lt;/Orientation&gt;&#10;      &lt;Offset&gt;524&lt;/Offset&gt;&#10;    &lt;/GuideLine&gt;&#10;    &lt;GuideLine&gt;&#10;      &lt;Orientation&gt;118&lt;/Orientation&gt;&#10;      &lt;Offset&gt;587&lt;/Offset&gt;&#10;    &lt;/GuideLine&gt;&#10;    &lt;GuideLine&gt;&#10;      &lt;Orientation&gt;118&lt;/Orientation&gt;&#10;      &lt;Offset&gt;599&lt;/Offset&gt;&#10;    &lt;/GuideLine&gt;&#10;    &lt;GuideLine&gt;&#10;      &lt;Orientation&gt;118&lt;/Orientation&gt;&#10;      &lt;Offset&gt;662&lt;/Offset&gt;&#10;    &lt;/GuideLine&gt;&#10;    &lt;GuideLine&gt;&#10;      &lt;Orientation&gt;118&lt;/Orientation&gt;&#10;      &lt;Offset&gt;674&lt;/Offset&gt;&#10;    &lt;/GuideLine&gt;&#10;    &lt;GuideLine&gt;&#10;      &lt;Orientation&gt;118&lt;/Orientation&gt;&#10;      &lt;Offset&gt;737&lt;/Offset&gt;&#10;    &lt;/GuideLine&gt;&#10;    &lt;GuideLine&gt;&#10;      &lt;Orientation&gt;118&lt;/Orientation&gt;&#10;      &lt;Offset&gt;749&lt;/Offset&gt;&#10;    &lt;/GuideLine&gt;&#10;    &lt;GuideLine&gt;&#10;      &lt;Orientation&gt;118&lt;/Orientation&gt;&#10;      &lt;Offset&gt;812&lt;/Offset&gt;&#10;    &lt;/GuideLine&gt;&#10;    &lt;GuideLine&gt;&#10;      &lt;Orientation&gt;118&lt;/Orientation&gt;&#10;      &lt;Offset&gt;824&lt;/Offset&gt;&#10;    &lt;/GuideLine&gt;&#10;    &lt;GuideLine&gt;&#10;      &lt;Orientation&gt;118&lt;/Orientation&gt;&#10;      &lt;Offset&gt;887&lt;/Offset&gt;&#10;    &lt;/GuideLine&gt;&#10;    &lt;GuideLine&gt;&#10;      &lt;Orientation&gt;118&lt;/Orientation&gt;&#10;      &lt;Offset&gt;900&lt;/Offset&gt;&#10;    &lt;/GuideLine&gt;&#10;  &lt;/GuideLines&gt;&#10;  &lt;SubGrids&gt;&#10;    &lt;SubGrid&gt;&#10;      &lt;Left&gt;60.37819&lt;/Left&gt;&#10;      &lt;Top&gt;29.7637787&lt;/Top&gt;&#10;      &lt;Width&gt;12.2517319&lt;/Width&gt;&#10;      &lt;Height&gt;467.716522&lt;/Height&gt;&#10;    &lt;/SubGrid&gt;&#10;    &lt;SubGrid&gt;&#10;      &lt;Left&gt;72.62992&lt;/Left&gt;&#10;      &lt;Top&gt;29.7637787&lt;/Top&gt;&#10;      &lt;Width&gt;62.9291344&lt;/Width&gt;&#10;      &lt;Height&gt;467.716522&lt;/Height&gt;&#10;    &lt;/SubGrid&gt;&#10;    &lt;SubGrid&gt;&#10;      &lt;Left&gt;135.559052&lt;/Left&gt;&#10;      &lt;Top&gt;29.7637787&lt;/Top&gt;&#10;      &lt;Width&gt;12.2519684&lt;/Width&gt;&#10;      &lt;Height&gt;467.716522&lt;/Height&gt;&#10;    &lt;/SubGrid&gt;&#10;    &lt;SubGrid&gt;&#10;      &lt;Left&gt;147.81102&lt;/Left&gt;&#10;      &lt;Top&gt;29.7637787&lt;/Top&gt;&#10;      &lt;Width&gt;62.9291344&lt;/Width&gt;&#10;      &lt;Height&gt;467.716522&lt;/Height&gt;&#10;    &lt;/SubGrid&gt;&#10;    &lt;SubGrid&gt;&#10;      &lt;Left&gt;210.740158&lt;/Left&gt;&#10;      &lt;Top&gt;29.7637787&lt;/Top&gt;&#10;      &lt;Width&gt;12.2519684&lt;/Width&gt;&#10;      &lt;Height&gt;467.716522&lt;/Height&gt;&#10;    &lt;/SubGrid&gt;&#10;    &lt;SubGrid&gt;&#10;      &lt;Left&gt;222.992126&lt;/Left&gt;&#10;      &lt;Top&gt;29.7637787&lt;/Top&gt;&#10;      &lt;Width&gt;62.9291344&lt;/Width&gt;&#10;      &lt;Height&gt;467.716522&lt;/Height&gt;&#10;    &lt;/SubGrid&gt;&#10;    &lt;SubGrid&gt;&#10;      &lt;Left&gt;285.921265&lt;/Left&gt;&#10;      &lt;Top&gt;29.7637787&lt;/Top&gt;&#10;      &lt;Width&gt;12.2519684&lt;/Width&gt;&#10;      &lt;Height&gt;467.716522&lt;/Height&gt;&#10;    &lt;/SubGrid&gt;&#10;    &lt;SubGrid&gt;&#10;      &lt;Left&gt;298.173218&lt;/Left&gt;&#10;      &lt;Top&gt;29.7637787&lt;/Top&gt;&#10;      &lt;Width&gt;62.9291344&lt;/Width&gt;&#10;      &lt;Height&gt;467.716522&lt;/Height&gt;&#10;    &lt;/SubGrid&gt;&#10;    &lt;SubGrid&gt;&#10;      &lt;Left&gt;361.102356&lt;/Left&gt;&#10;      &lt;Top&gt;29.7637787&lt;/Top&gt;&#10;      &lt;Width&gt;12.2519684&lt;/Width&gt;&#10;      &lt;Height&gt;467.716522&lt;/Height&gt;&#10;    &lt;/SubGrid&gt;&#10;    &lt;SubGrid&gt;&#10;      &lt;Left&gt;373.35434&lt;/Left&gt;&#10;      &lt;Top&gt;29.7637787&lt;/Top&gt;&#10;      &lt;Width&gt;62.9291344&lt;/Width&gt;&#10;      &lt;Height&gt;467.716522&lt;/Height&gt;&#10;    &lt;/SubGrid&gt;&#10;    &lt;SubGrid&gt;&#10;      &lt;Left&gt;436.283478&lt;/Left&gt;&#10;      &lt;Top&gt;29.7637787&lt;/Top&gt;&#10;      &lt;Width&gt;12.2519684&lt;/Width&gt;&#10;      &lt;Height&gt;467.716522&lt;/Height&gt;&#10;    &lt;/SubGrid&gt;&#10;    &lt;SubGrid&gt;&#10;      &lt;Left&gt;448.535431&lt;/Left&gt;&#10;      &lt;Top&gt;29.7637787&lt;/Top&gt;&#10;      &lt;Width&gt;62.9291344&lt;/Width&gt;&#10;      &lt;Height&gt;467.716522&lt;/Height&gt;&#10;    &lt;/SubGrid&gt;&#10;    &lt;SubGrid&gt;&#10;      &lt;Left&gt;511.464569&lt;/Left&gt;&#10;      &lt;Top&gt;29.7637787&lt;/Top&gt;&#10;      &lt;Width&gt;12.2519684&lt;/Width&gt;&#10;      &lt;Height&gt;467.716522&lt;/Height&gt;&#10;    &lt;/SubGrid&gt;&#10;    &lt;SubGrid&gt;&#10;      &lt;Left&gt;523.716553&lt;/Left&gt;&#10;      &lt;Top&gt;29.7637787&lt;/Top&gt;&#10;      &lt;Width&gt;62.9291344&lt;/Width&gt;&#10;      &lt;Height&gt;467.716522&lt;/Height&gt;&#10;    &lt;/SubGrid&gt;&#10;    &lt;SubGrid&gt;&#10;      &lt;Left&gt;586.6457&lt;/Left&gt;&#10;      &lt;Top&gt;29.7637787&lt;/Top&gt;&#10;      &lt;Width&gt;12.2519684&lt;/Width&gt;&#10;      &lt;Height&gt;467.716522&lt;/Height&gt;&#10;    &lt;/SubGrid&gt;&#10;    &lt;SubGrid&gt;&#10;      &lt;Left&gt;598.897644&lt;/Left&gt;&#10;      &lt;Top&gt;29.7637787&lt;/Top&gt;&#10;      &lt;Width&gt;62.9291344&lt;/Width&gt;&#10;      &lt;Height&gt;467.716522&lt;/Height&gt;&#10;    &lt;/SubGrid&gt;&#10;    &lt;SubGrid&gt;&#10;      &lt;Left&gt;661.8268&lt;/Left&gt;&#10;      &lt;Top&gt;29.7637787&lt;/Top&gt;&#10;      &lt;Width&gt;12.2519684&lt;/Width&gt;&#10;      &lt;Height&gt;467.716522&lt;/Height&gt;&#10;    &lt;/SubGrid&gt;&#10;    &lt;SubGrid&gt;&#10;      &lt;Left&gt;674.078735&lt;/Left&gt;&#10;      &lt;Top&gt;29.7637787&lt;/Top&gt;&#10;      &lt;Width&gt;62.9291344&lt;/Width&gt;&#10;      &lt;Height&gt;467.716522&lt;/Height&gt;&#10;    &lt;/SubGrid&gt;&#10;    &lt;SubGrid&gt;&#10;      &lt;Left&gt;737.0079&lt;/Left&gt;&#10;      &lt;Top&gt;29.7637787&lt;/Top&gt;&#10;      &lt;Width&gt;12.2519684&lt;/Width&gt;&#10;      &lt;Height&gt;467.716522&lt;/Height&gt;&#10;    &lt;/SubGrid&gt;&#10;    &lt;SubGrid&gt;&#10;      &lt;Left&gt;749.2598&lt;/Left&gt;&#10;      &lt;Top&gt;29.7637787&lt;/Top&gt;&#10;      &lt;Width&gt;62.9291344&lt;/Width&gt;&#10;      &lt;Height&gt;467.716522&lt;/Height&gt;&#10;    &lt;/SubGrid&gt;&#10;    &lt;SubGrid&gt;&#10;      &lt;Left&gt;812.188965&lt;/Left&gt;&#10;      &lt;Top&gt;29.7637787&lt;/Top&gt;&#10;      &lt;Width&gt;12.2519684&lt;/Width&gt;&#10;      &lt;Height&gt;467.716522&lt;/Height&gt;&#10;    &lt;/SubGrid&gt;&#10;    &lt;SubGrid&gt;&#10;      &lt;Left&gt;824.4409&lt;/Left&gt;&#10;      &lt;Top&gt;29.7637787&lt;/Top&gt;&#10;      &lt;Width&gt;62.9291344&lt;/Width&gt;&#10;      &lt;Height&gt;467.716522&lt;/Height&gt;&#10;    &lt;/SubGrid&gt;&#10;    &lt;SubGrid&gt;&#10;      &lt;Left&gt;887.370056&lt;/Left&gt;&#10;      &lt;Top&gt;29.7637787&lt;/Top&gt;&#10;      &lt;Width&gt;12.2519684&lt;/Width&gt;&#10;      &lt;Height&gt;467.716522&lt;/Height&gt;&#10;    &lt;/SubGrid&gt;&#10;  &lt;/SubGrids&gt;&#10;  &lt;WorkArea&gt;&#10;    &lt;Top&gt;29.7637787&lt;/Top&gt;&#10;    &lt;Left&gt;60.37819&lt;/Left&gt;&#10;    &lt;Width&gt;839.243835&lt;/Width&gt;&#10;    &lt;Height&gt;467.71652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&lt;/OfficeVersion&gt;&#10;&lt;/GridTheme&gt;" hidden="1">
            <a:extLst>
              <a:ext uri="{FF2B5EF4-FFF2-40B4-BE49-F238E27FC236}">
                <a16:creationId xmlns:a16="http://schemas.microsoft.com/office/drawing/2014/main" id="{5BA4C209-0091-4765-F220-0CCED6576E15}"/>
              </a:ext>
            </a:extLst>
          </p:cNvPr>
          <p:cNvSpPr/>
          <p:nvPr userDrawn="1"/>
        </p:nvSpPr>
        <p:spPr>
          <a:xfrm>
            <a:off x="766803" y="378000"/>
            <a:ext cx="10658397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24E1D2C-620C-D578-FD58-FA681FB15FB2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766803" y="378000"/>
            <a:ext cx="155597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EE8B63-108D-B576-2468-C480554FD8CF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9224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52A340F4-452A-5675-62AA-8C4FE5E6A309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7216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4733914B-1A36-DD24-630F-11B0400BB637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18772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4" name="Rectangle 113" hidden="1">
            <a:extLst>
              <a:ext uri="{FF2B5EF4-FFF2-40B4-BE49-F238E27FC236}">
                <a16:creationId xmlns:a16="http://schemas.microsoft.com/office/drawing/2014/main" id="{A46208DC-AD39-2EEC-036E-B0BCD2037AE0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6764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Rectangle 114" hidden="1">
            <a:extLst>
              <a:ext uri="{FF2B5EF4-FFF2-40B4-BE49-F238E27FC236}">
                <a16:creationId xmlns:a16="http://schemas.microsoft.com/office/drawing/2014/main" id="{C843A435-8D9E-2C29-F495-14E6307B0628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8320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Rectangle 115" hidden="1">
            <a:extLst>
              <a:ext uri="{FF2B5EF4-FFF2-40B4-BE49-F238E27FC236}">
                <a16:creationId xmlns:a16="http://schemas.microsoft.com/office/drawing/2014/main" id="{CEF77190-C2FC-19C0-0760-A2C7DF0043CB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6312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7" name="Rectangle 116" hidden="1">
            <a:extLst>
              <a:ext uri="{FF2B5EF4-FFF2-40B4-BE49-F238E27FC236}">
                <a16:creationId xmlns:a16="http://schemas.microsoft.com/office/drawing/2014/main" id="{737EA642-6289-FCBD-316F-A307FB29156E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7868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8" name="Rectangle 117" hidden="1">
            <a:extLst>
              <a:ext uri="{FF2B5EF4-FFF2-40B4-BE49-F238E27FC236}">
                <a16:creationId xmlns:a16="http://schemas.microsoft.com/office/drawing/2014/main" id="{AAA4B48E-F1F1-A2E5-3C79-549C455C5BF4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5860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9" name="Rectangle 118" hidden="1">
            <a:extLst>
              <a:ext uri="{FF2B5EF4-FFF2-40B4-BE49-F238E27FC236}">
                <a16:creationId xmlns:a16="http://schemas.microsoft.com/office/drawing/2014/main" id="{416517D7-2FB2-A09F-D9C1-D6C06F7D4FD4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47416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0" name="Rectangle 119" hidden="1">
            <a:extLst>
              <a:ext uri="{FF2B5EF4-FFF2-40B4-BE49-F238E27FC236}">
                <a16:creationId xmlns:a16="http://schemas.microsoft.com/office/drawing/2014/main" id="{BD70BF0F-B582-440A-39EF-35DD4F06BC82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5408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1" name="Rectangle 120" hidden="1">
            <a:extLst>
              <a:ext uri="{FF2B5EF4-FFF2-40B4-BE49-F238E27FC236}">
                <a16:creationId xmlns:a16="http://schemas.microsoft.com/office/drawing/2014/main" id="{CABAADBC-07BC-AE50-20B4-12ECEAC6C8A9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56964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2" name="Rectangle 121" hidden="1">
            <a:extLst>
              <a:ext uri="{FF2B5EF4-FFF2-40B4-BE49-F238E27FC236}">
                <a16:creationId xmlns:a16="http://schemas.microsoft.com/office/drawing/2014/main" id="{D5F1932E-9873-E833-3F5C-40E15D6416BC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4956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Rectangle 122" hidden="1">
            <a:extLst>
              <a:ext uri="{FF2B5EF4-FFF2-40B4-BE49-F238E27FC236}">
                <a16:creationId xmlns:a16="http://schemas.microsoft.com/office/drawing/2014/main" id="{3822BE3B-56AD-230C-A1AB-18F5A43B8201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6512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4" name="Rectangle 123" hidden="1">
            <a:extLst>
              <a:ext uri="{FF2B5EF4-FFF2-40B4-BE49-F238E27FC236}">
                <a16:creationId xmlns:a16="http://schemas.microsoft.com/office/drawing/2014/main" id="{FDDE136E-40F2-2A34-B1DB-772C0CA6D6B0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4504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5" name="Rectangle 124" hidden="1">
            <a:extLst>
              <a:ext uri="{FF2B5EF4-FFF2-40B4-BE49-F238E27FC236}">
                <a16:creationId xmlns:a16="http://schemas.microsoft.com/office/drawing/2014/main" id="{8EA12E7E-599F-D611-CF20-4EB63FBB756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6060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6" name="Rectangle 125" hidden="1">
            <a:extLst>
              <a:ext uri="{FF2B5EF4-FFF2-40B4-BE49-F238E27FC236}">
                <a16:creationId xmlns:a16="http://schemas.microsoft.com/office/drawing/2014/main" id="{7BA6287B-BA36-B01B-D71C-E644952C0D83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4052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7" name="Rectangle 126" hidden="1">
            <a:extLst>
              <a:ext uri="{FF2B5EF4-FFF2-40B4-BE49-F238E27FC236}">
                <a16:creationId xmlns:a16="http://schemas.microsoft.com/office/drawing/2014/main" id="{A48D48F0-5B33-5979-1FB7-CA07DDF92138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5608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8" name="Rectangle 127" hidden="1">
            <a:extLst>
              <a:ext uri="{FF2B5EF4-FFF2-40B4-BE49-F238E27FC236}">
                <a16:creationId xmlns:a16="http://schemas.microsoft.com/office/drawing/2014/main" id="{52756B12-A271-0258-B1E7-85A2F63EC584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3600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9" name="Rectangle 128" hidden="1">
            <a:extLst>
              <a:ext uri="{FF2B5EF4-FFF2-40B4-BE49-F238E27FC236}">
                <a16:creationId xmlns:a16="http://schemas.microsoft.com/office/drawing/2014/main" id="{6586B002-268D-E0DE-0616-3F4B6BDADAF3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5156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0" name="Rectangle 129" hidden="1">
            <a:extLst>
              <a:ext uri="{FF2B5EF4-FFF2-40B4-BE49-F238E27FC236}">
                <a16:creationId xmlns:a16="http://schemas.microsoft.com/office/drawing/2014/main" id="{A7ACC4A5-DA35-9453-9071-54C2ECB7E0FD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103148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1" name="Rectangle 130" hidden="1">
            <a:extLst>
              <a:ext uri="{FF2B5EF4-FFF2-40B4-BE49-F238E27FC236}">
                <a16:creationId xmlns:a16="http://schemas.microsoft.com/office/drawing/2014/main" id="{D396C222-B98E-C296-2FD5-74C25E547AB8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470400" y="378000"/>
            <a:ext cx="7992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2" name="Rectangle 131" hidden="1">
            <a:extLst>
              <a:ext uri="{FF2B5EF4-FFF2-40B4-BE49-F238E27FC236}">
                <a16:creationId xmlns:a16="http://schemas.microsoft.com/office/drawing/2014/main" id="{D0B30744-64AD-65C2-AB47-9CD33720787B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1269600" y="378000"/>
            <a:ext cx="155600" cy="5940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4" name="Title Placeholder 133">
            <a:extLst>
              <a:ext uri="{FF2B5EF4-FFF2-40B4-BE49-F238E27FC236}">
                <a16:creationId xmlns:a16="http://schemas.microsoft.com/office/drawing/2014/main" id="{F42FBEE0-F1F7-7E57-8FA8-BFD23AE1B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377824"/>
            <a:ext cx="10668000" cy="1260000"/>
          </a:xfrm>
          <a:prstGeom prst="rect">
            <a:avLst/>
          </a:prstGeom>
        </p:spPr>
        <p:txBody>
          <a:bodyPr vert="horz" lIns="0" tIns="162000" rIns="0" bIns="0" rtlCol="0" anchor="t" anchorCtr="0">
            <a:noAutofit/>
          </a:bodyPr>
          <a:lstStyle/>
          <a:p>
            <a:r>
              <a:rPr lang="en-GB" noProof="0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78775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sldNum="0" hdr="0" ftr="0" dt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lang="en-GB" sz="3000" b="1" kern="1200" dirty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lang="da-DK" sz="1600" kern="1200" noProof="0" dirty="0">
          <a:solidFill>
            <a:srgbClr val="000000"/>
          </a:solidFill>
          <a:latin typeface="+mn-lt"/>
          <a:ea typeface="+mn-ea"/>
          <a:cs typeface="+mn-cs"/>
        </a:defRPr>
      </a:lvl1pPr>
      <a:lvl2pPr marL="460800" indent="-2304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lang="da-DK" sz="1400" kern="1200" noProof="0" dirty="0">
          <a:solidFill>
            <a:srgbClr val="000000"/>
          </a:solidFill>
          <a:latin typeface="+mn-lt"/>
          <a:ea typeface="+mn-ea"/>
          <a:cs typeface="+mn-cs"/>
        </a:defRPr>
      </a:lvl2pPr>
      <a:lvl3pPr marL="691200" indent="-23040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lang="da-DK" sz="1200" kern="1200" noProof="0" dirty="0">
          <a:solidFill>
            <a:srgbClr val="000000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​"/>
        <a:defRPr lang="da-DK" sz="1600" b="1" kern="1200" noProof="0" dirty="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​"/>
        <a:defRPr lang="da-DK" sz="1600" kern="1200" noProof="0" dirty="0">
          <a:solidFill>
            <a:srgbClr val="000000"/>
          </a:solidFill>
          <a:latin typeface="+mn-lt"/>
          <a:ea typeface="+mn-ea"/>
          <a:cs typeface="+mn-cs"/>
        </a:defRPr>
      </a:lvl5pPr>
      <a:lvl6pPr marL="230400" indent="-2304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lang="da-DK" sz="1000" kern="1200" noProof="0" dirty="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​"/>
        <a:defRPr lang="da-DK" sz="1000" b="1" kern="1200" cap="none" baseline="0" noProof="0" dirty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​"/>
        <a:defRPr lang="da-DK" sz="1000" kern="1200" noProof="0" dirty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lang="da-DK" sz="3000" b="0" kern="1200" baseline="0" noProof="0" dirty="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>
          <p15:clr>
            <a:srgbClr val="A4A3A4"/>
          </p15:clr>
        </p15:guide>
        <p15:guide id="2" pos="584">
          <p15:clr>
            <a:srgbClr val="A4A3A4"/>
          </p15:clr>
        </p15:guide>
        <p15:guide id="4" orient="horz" pos="3976">
          <p15:clr>
            <a:srgbClr val="A4A3A4"/>
          </p15:clr>
        </p15:guide>
        <p15:guide id="5" pos="1088">
          <p15:clr>
            <a:srgbClr val="A4A3A4"/>
          </p15:clr>
        </p15:guide>
        <p15:guide id="6" pos="1184">
          <p15:clr>
            <a:srgbClr val="A4A3A4"/>
          </p15:clr>
        </p15:guide>
        <p15:guide id="7" pos="1688">
          <p15:clr>
            <a:srgbClr val="A4A3A4"/>
          </p15:clr>
        </p15:guide>
        <p15:guide id="8" pos="1784">
          <p15:clr>
            <a:srgbClr val="A4A3A4"/>
          </p15:clr>
        </p15:guide>
        <p15:guide id="9" pos="2288">
          <p15:clr>
            <a:srgbClr val="A4A3A4"/>
          </p15:clr>
        </p15:guide>
        <p15:guide id="10" pos="2384">
          <p15:clr>
            <a:srgbClr val="A4A3A4"/>
          </p15:clr>
        </p15:guide>
        <p15:guide id="11" pos="2888">
          <p15:clr>
            <a:srgbClr val="A4A3A4"/>
          </p15:clr>
        </p15:guide>
        <p15:guide id="12" pos="2984">
          <p15:clr>
            <a:srgbClr val="A4A3A4"/>
          </p15:clr>
        </p15:guide>
        <p15:guide id="13" pos="3488">
          <p15:clr>
            <a:srgbClr val="A4A3A4"/>
          </p15:clr>
        </p15:guide>
        <p15:guide id="14" pos="3592">
          <p15:clr>
            <a:srgbClr val="A4A3A4"/>
          </p15:clr>
        </p15:guide>
        <p15:guide id="15" pos="4088">
          <p15:clr>
            <a:srgbClr val="A4A3A4"/>
          </p15:clr>
        </p15:guide>
        <p15:guide id="16" pos="4192">
          <p15:clr>
            <a:srgbClr val="A4A3A4"/>
          </p15:clr>
        </p15:guide>
        <p15:guide id="17" pos="4696">
          <p15:clr>
            <a:srgbClr val="A4A3A4"/>
          </p15:clr>
        </p15:guide>
        <p15:guide id="18" pos="4792">
          <p15:clr>
            <a:srgbClr val="A4A3A4"/>
          </p15:clr>
        </p15:guide>
        <p15:guide id="19" pos="5296">
          <p15:clr>
            <a:srgbClr val="A4A3A4"/>
          </p15:clr>
        </p15:guide>
        <p15:guide id="20" pos="5392">
          <p15:clr>
            <a:srgbClr val="A4A3A4"/>
          </p15:clr>
        </p15:guide>
        <p15:guide id="21" pos="5896">
          <p15:clr>
            <a:srgbClr val="A4A3A4"/>
          </p15:clr>
        </p15:guide>
        <p15:guide id="22" pos="5992">
          <p15:clr>
            <a:srgbClr val="A4A3A4"/>
          </p15:clr>
        </p15:guide>
        <p15:guide id="23" pos="6496">
          <p15:clr>
            <a:srgbClr val="A4A3A4"/>
          </p15:clr>
        </p15:guide>
        <p15:guide id="24" pos="6592">
          <p15:clr>
            <a:srgbClr val="A4A3A4"/>
          </p15:clr>
        </p15:guide>
        <p15:guide id="25" pos="7096">
          <p15:clr>
            <a:srgbClr val="A4A3A4"/>
          </p15:clr>
        </p15:guide>
        <p15:guide id="26" pos="7200">
          <p15:clr>
            <a:srgbClr val="A4A3A4"/>
          </p15:clr>
        </p15:guide>
        <p15:guide id="27" pos="233">
          <p15:clr>
            <a:srgbClr val="A4A3A4"/>
          </p15:clr>
        </p15:guide>
        <p15:guide id="28" pos="7448">
          <p15:clr>
            <a:srgbClr val="A4A3A4"/>
          </p15:clr>
        </p15:guide>
        <p15:guide id="29" orient="horz" pos="23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appension.dk/globalassets/content_mz/video/ap-life/ap-life-sundhediappensionexplainer-verson02-subdk_2.mp4" TargetMode="Externa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7.jpe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5.xml"/><Relationship Id="rId5" Type="http://schemas.openxmlformats.org/officeDocument/2006/relationships/image" Target="../media/image8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7.x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AD20B96-5EEF-E6CD-EC13-73115C7C8C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D20B96-5EEF-E6CD-EC13-73115C7C8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ED38C22-260C-3BDB-5DB5-A3313E3DE3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9888" y="5137200"/>
            <a:ext cx="11453812" cy="1460450"/>
          </a:xfrm>
        </p:spPr>
        <p:txBody>
          <a:bodyPr vert="horz"/>
          <a:lstStyle/>
          <a:p>
            <a:r>
              <a:rPr lang="da-DK" dirty="0"/>
              <a:t>AP Life</a:t>
            </a:r>
            <a:br>
              <a:rPr lang="da-DK" dirty="0"/>
            </a:br>
            <a:r>
              <a:rPr lang="da-DK" sz="3000" b="0" dirty="0"/>
              <a:t>Når I vil fremme mental og fysisk sundhed</a:t>
            </a:r>
          </a:p>
        </p:txBody>
      </p:sp>
      <p:pic>
        <p:nvPicPr>
          <p:cNvPr id="21" name="Picture Placeholder 6">
            <a:extLst>
              <a:ext uri="{FF2B5EF4-FFF2-40B4-BE49-F238E27FC236}">
                <a16:creationId xmlns:a16="http://schemas.microsoft.com/office/drawing/2014/main" id="{8C0E3F1F-94FF-C318-083A-6EA16603D714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" t="8312" r="-14" b="31702"/>
          <a:stretch/>
        </p:blipFill>
        <p:spPr>
          <a:xfrm>
            <a:off x="369888" y="377825"/>
            <a:ext cx="11453812" cy="4581037"/>
          </a:xfr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44D86A3-1161-805C-FBFB-9A23B60581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291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86C145-11DB-3D67-0B98-636507EBB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</a:t>
            </a:r>
            <a:br>
              <a:rPr lang="da-DK"/>
            </a:br>
            <a:r>
              <a:rPr lang="da-DK" b="0"/>
              <a:t>Virksomhedsrapport</a:t>
            </a:r>
            <a:br>
              <a:rPr lang="da-DK"/>
            </a:b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675180CE-2162-54D7-452B-8128D6578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/>
              <a:t>APV</a:t>
            </a:r>
          </a:p>
        </p:txBody>
      </p:sp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CD5366FC-3FD7-91E6-8467-905861C01B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88612" y="0"/>
            <a:ext cx="6303387" cy="6858000"/>
          </a:xfrm>
        </p:spPr>
        <p:txBody>
          <a:bodyPr/>
          <a:lstStyle/>
          <a:p>
            <a:endParaRPr lang="da-DK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47A109E1-41C7-CE20-B249-5AF0FF36C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3923" y="948906"/>
            <a:ext cx="5805627" cy="3011234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22D818FA-986B-495B-FB0C-EF08451950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111362"/>
            <a:ext cx="5991101" cy="309258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6CE74078-E914-6D78-D9E9-6308843541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8612" y="3131310"/>
            <a:ext cx="6043551" cy="3180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173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B544EB-42D7-EB5E-5312-1AC6841DF2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B544EB-42D7-EB5E-5312-1AC6841DF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>
            <a:extLst>
              <a:ext uri="{FF2B5EF4-FFF2-40B4-BE49-F238E27FC236}">
                <a16:creationId xmlns:a16="http://schemas.microsoft.com/office/drawing/2014/main" id="{37296166-4DBF-8774-7D92-6ADC296DD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ere information om AP Life</a:t>
            </a:r>
            <a:endParaRPr lang="en-GB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1C577739-4303-0E54-DE2B-6ABDCB03CE5E}"/>
              </a:ext>
            </a:extLst>
          </p:cNvPr>
          <p:cNvSpPr/>
          <p:nvPr/>
        </p:nvSpPr>
        <p:spPr>
          <a:xfrm>
            <a:off x="369888" y="2041177"/>
            <a:ext cx="11453812" cy="4029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71DF812E-4745-293D-A5B0-FB601513E9D5}"/>
              </a:ext>
            </a:extLst>
          </p:cNvPr>
          <p:cNvGrpSpPr>
            <a:grpSpLocks/>
          </p:cNvGrpSpPr>
          <p:nvPr/>
        </p:nvGrpSpPr>
        <p:grpSpPr>
          <a:xfrm>
            <a:off x="5215440" y="0"/>
            <a:ext cx="5792382" cy="8187215"/>
            <a:chOff x="6682784" y="-664608"/>
            <a:chExt cx="5792382" cy="8187215"/>
          </a:xfrm>
        </p:grpSpPr>
        <p:pic>
          <p:nvPicPr>
            <p:cNvPr id="5" name="Billede 4" descr="Et billede, der indeholder cirkel, tekst, Font/skrifttype, logo&#10;&#10;Automatisk genereret beskrivelse">
              <a:extLst>
                <a:ext uri="{FF2B5EF4-FFF2-40B4-BE49-F238E27FC236}">
                  <a16:creationId xmlns:a16="http://schemas.microsoft.com/office/drawing/2014/main" id="{E482FB61-A894-324E-26D4-45313AE5F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2784" y="-664608"/>
              <a:ext cx="5792382" cy="8187215"/>
            </a:xfrm>
            <a:prstGeom prst="rect">
              <a:avLst/>
            </a:prstGeom>
          </p:spPr>
        </p:pic>
        <p:sp>
          <p:nvSpPr>
            <p:cNvPr id="6" name="Tekstfelt 5">
              <a:extLst>
                <a:ext uri="{FF2B5EF4-FFF2-40B4-BE49-F238E27FC236}">
                  <a16:creationId xmlns:a16="http://schemas.microsoft.com/office/drawing/2014/main" id="{AD428355-BB79-6EA7-E9EB-DAADF2A92168}"/>
                </a:ext>
              </a:extLst>
            </p:cNvPr>
            <p:cNvSpPr txBox="1"/>
            <p:nvPr/>
          </p:nvSpPr>
          <p:spPr>
            <a:xfrm>
              <a:off x="8804275" y="3086099"/>
              <a:ext cx="1508125" cy="685800"/>
            </a:xfrm>
            <a:prstGeom prst="rect">
              <a:avLst/>
            </a:prstGeom>
            <a:solidFill>
              <a:srgbClr val="E9E6E2"/>
            </a:solidFill>
          </p:spPr>
          <p:txBody>
            <a:bodyPr wrap="square" lIns="0" tIns="25200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P Life</a:t>
              </a:r>
            </a:p>
          </p:txBody>
        </p:sp>
      </p:grpSp>
      <p:sp>
        <p:nvSpPr>
          <p:cNvPr id="2" name="Pladsholder til indhold 4">
            <a:extLst>
              <a:ext uri="{FF2B5EF4-FFF2-40B4-BE49-F238E27FC236}">
                <a16:creationId xmlns:a16="http://schemas.microsoft.com/office/drawing/2014/main" id="{4EDFEE5F-55E5-795D-D6AC-676DF1E1E7F6}"/>
              </a:ext>
            </a:extLst>
          </p:cNvPr>
          <p:cNvSpPr txBox="1">
            <a:spLocks/>
          </p:cNvSpPr>
          <p:nvPr/>
        </p:nvSpPr>
        <p:spPr>
          <a:xfrm>
            <a:off x="763089" y="2663826"/>
            <a:ext cx="5038203" cy="2774130"/>
          </a:xfrm>
          <a:prstGeom prst="rect">
            <a:avLst/>
          </a:prstGeom>
        </p:spPr>
        <p:txBody>
          <a:bodyPr/>
          <a:lstStyle>
            <a:lvl1pPr marL="230400" indent="-2304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da-DK" sz="16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60800" indent="-2304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da-DK" sz="14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91200" indent="-2304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da-DK" sz="12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1600" b="1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16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30400" indent="-2304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da-DK" sz="10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1000" b="1" kern="1200" cap="none" baseline="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1000" kern="120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da-DK" sz="3000" b="0" kern="1200" baseline="0" noProof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l" defTabSz="914400" rtl="0" eaLnBrk="1" fontAlgn="auto" latinLnBrk="0" hangingPunct="1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jemmeside med mere information og </a:t>
            </a:r>
            <a:b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lighed for at bestille AP Life</a:t>
            </a:r>
            <a:b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jemmeside med viden og værktøjer om </a:t>
            </a:r>
            <a:b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ysisk og mental sundhed, der kan forankres </a:t>
            </a:r>
            <a:b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 organisationen</a:t>
            </a:r>
          </a:p>
          <a:p>
            <a:pPr marL="180000" marR="0" lvl="0" indent="-180000" algn="l" defTabSz="914400" rtl="0" eaLnBrk="1" fontAlgn="auto" latinLnBrk="0" hangingPunct="1">
              <a:lnSpc>
                <a:spcPct val="12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5153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>
            <a:extLst>
              <a:ext uri="{FF2B5EF4-FFF2-40B4-BE49-F238E27FC236}">
                <a16:creationId xmlns:a16="http://schemas.microsoft.com/office/drawing/2014/main" id="{7A9A13A8-316A-2E2F-2017-9975AA1A6194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9087" y="1722716"/>
            <a:ext cx="3240000" cy="3240000"/>
          </a:xfr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D88CDD-6B9C-72F8-C7C2-7EDC801DA3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77568" y="2958315"/>
            <a:ext cx="5452431" cy="769441"/>
          </a:xfrm>
        </p:spPr>
        <p:txBody>
          <a:bodyPr/>
          <a:lstStyle/>
          <a:p>
            <a:r>
              <a:rPr lang="en-GB" err="1"/>
              <a:t>Spørgsmå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415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30ADD4-7957-F24F-DEB8-1708A8DDB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Billede 4">
            <a:hlinkClick r:id="rId2"/>
            <a:extLst>
              <a:ext uri="{FF2B5EF4-FFF2-40B4-BE49-F238E27FC236}">
                <a16:creationId xmlns:a16="http://schemas.microsoft.com/office/drawing/2014/main" id="{F8D54151-278E-6435-6DFB-B6DDDE7574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34088"/>
            <a:ext cx="12273280" cy="68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4086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8C5F91A-29C1-6946-F9E3-B1B1053CD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C5F91A-29C1-6946-F9E3-B1B1053CD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83E5733-0F6D-1148-2F4B-9AE8890AF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err="1"/>
              <a:t>Hvorfor</a:t>
            </a:r>
            <a:r>
              <a:rPr lang="en-GB"/>
              <a:t> AP Life </a:t>
            </a:r>
            <a:r>
              <a:rPr lang="en-GB" err="1"/>
              <a:t>og</a:t>
            </a:r>
            <a:r>
              <a:rPr lang="en-GB"/>
              <a:t> </a:t>
            </a:r>
            <a:r>
              <a:rPr lang="en-GB" err="1"/>
              <a:t>sundhedsfremme</a:t>
            </a:r>
            <a:r>
              <a:rPr lang="en-GB"/>
              <a:t>?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2E497953-424E-A6DF-CBB3-96730E300B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 b="1" dirty="0"/>
              <a:t>Det er god forretning at </a:t>
            </a:r>
          </a:p>
          <a:p>
            <a:pPr marL="0" indent="0">
              <a:buNone/>
            </a:pPr>
            <a:r>
              <a:rPr lang="da-DK" sz="2000" b="1" dirty="0"/>
              <a:t>fokusere på sundhed</a:t>
            </a:r>
          </a:p>
          <a:p>
            <a:pPr>
              <a:spcBef>
                <a:spcPts val="500"/>
              </a:spcBef>
            </a:pPr>
            <a:endParaRPr lang="da-DK" dirty="0"/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dirty="0"/>
              <a:t>Sunde medarbejdere har færre sygedage 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dirty="0"/>
              <a:t>En sygedag koster i gennemsnit en </a:t>
            </a:r>
            <a:br>
              <a:rPr lang="da-DK" sz="1400" dirty="0"/>
            </a:br>
            <a:r>
              <a:rPr lang="da-DK" sz="1400" dirty="0"/>
              <a:t>arbejdsgiver 2.000 DKK om dagen*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dirty="0"/>
              <a:t>Med fokus på sundhedsfremme reduceres sygefraværet </a:t>
            </a:r>
            <a:br>
              <a:rPr lang="da-DK" sz="1400" dirty="0"/>
            </a:br>
            <a:r>
              <a:rPr lang="da-DK" sz="1400" dirty="0"/>
              <a:t>og effektiviteten samt performance øges**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dirty="0"/>
              <a:t>En sund arbejdsplads er en mere attraktiv arbejdsplads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pic>
        <p:nvPicPr>
          <p:cNvPr id="8" name="Picture Placeholder 2">
            <a:extLst>
              <a:ext uri="{FF2B5EF4-FFF2-40B4-BE49-F238E27FC236}">
                <a16:creationId xmlns:a16="http://schemas.microsoft.com/office/drawing/2014/main" id="{F0BD1E25-0B7F-5752-7EA8-92993C5D1CD8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82" r="24582"/>
          <a:stretch/>
        </p:blipFill>
        <p:spPr/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DEE4802E-61FE-0765-50A6-F69CA0642B28}"/>
              </a:ext>
            </a:extLst>
          </p:cNvPr>
          <p:cNvSpPr txBox="1"/>
          <p:nvPr/>
        </p:nvSpPr>
        <p:spPr>
          <a:xfrm>
            <a:off x="5998497" y="6311901"/>
            <a:ext cx="582520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rbejdstilsyne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*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ilde: Mills PR, Kessler RC, Cooper J, Sullivan S,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Impact of a Health Promotion Program on Employee Health Risks and Work Productivity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562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7B544EB-42D7-EB5E-5312-1AC6841DF2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B544EB-42D7-EB5E-5312-1AC6841DF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>
            <a:extLst>
              <a:ext uri="{FF2B5EF4-FFF2-40B4-BE49-F238E27FC236}">
                <a16:creationId xmlns:a16="http://schemas.microsoft.com/office/drawing/2014/main" id="{37296166-4DBF-8774-7D92-6ADC296DD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kern="100" dirty="0">
                <a:effectLst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d AP Life får I viden om sundhedstilstanden </a:t>
            </a:r>
            <a:br>
              <a:rPr lang="da-DK" b="1" kern="100" dirty="0">
                <a:effectLst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da-DK" b="1" kern="100" dirty="0">
                <a:effectLst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 jeres virksomhed inden for 4 hovedområder: </a:t>
            </a:r>
            <a:br>
              <a:rPr lang="da-DK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1C577739-4303-0E54-DE2B-6ABDCB03CE5E}"/>
              </a:ext>
            </a:extLst>
          </p:cNvPr>
          <p:cNvSpPr/>
          <p:nvPr/>
        </p:nvSpPr>
        <p:spPr>
          <a:xfrm>
            <a:off x="369888" y="2041177"/>
            <a:ext cx="11453812" cy="4029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itel 10">
            <a:extLst>
              <a:ext uri="{FF2B5EF4-FFF2-40B4-BE49-F238E27FC236}">
                <a16:creationId xmlns:a16="http://schemas.microsoft.com/office/drawing/2014/main" id="{4465C5D4-A443-7699-621C-13D80FE98777}"/>
              </a:ext>
            </a:extLst>
          </p:cNvPr>
          <p:cNvSpPr txBox="1">
            <a:spLocks/>
          </p:cNvSpPr>
          <p:nvPr/>
        </p:nvSpPr>
        <p:spPr>
          <a:xfrm>
            <a:off x="1879600" y="3085965"/>
            <a:ext cx="2870200" cy="1680906"/>
          </a:xfrm>
          <a:prstGeom prst="rect">
            <a:avLst/>
          </a:prstGeom>
        </p:spPr>
        <p:txBody>
          <a:bodyPr vert="horz" lIns="0" tIns="162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3000" b="1" kern="1200" dirty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ental sundhed</a:t>
            </a:r>
            <a:endParaRPr kumimoji="0" lang="da-DK" sz="1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ysisk sundhed</a:t>
            </a:r>
            <a:endParaRPr kumimoji="0" lang="da-DK" sz="1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ivsstil</a:t>
            </a:r>
            <a:endParaRPr kumimoji="0" lang="da-DK" sz="1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rbejdsmiljø</a:t>
            </a:r>
            <a:endParaRPr kumimoji="0" lang="da-DK" sz="1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71DF812E-4745-293D-A5B0-FB601513E9D5}"/>
              </a:ext>
            </a:extLst>
          </p:cNvPr>
          <p:cNvGrpSpPr>
            <a:grpSpLocks/>
          </p:cNvGrpSpPr>
          <p:nvPr/>
        </p:nvGrpSpPr>
        <p:grpSpPr>
          <a:xfrm>
            <a:off x="5215440" y="0"/>
            <a:ext cx="5792382" cy="8187215"/>
            <a:chOff x="6682784" y="-664608"/>
            <a:chExt cx="5792382" cy="8187215"/>
          </a:xfrm>
        </p:grpSpPr>
        <p:pic>
          <p:nvPicPr>
            <p:cNvPr id="5" name="Billede 4" descr="Et billede, der indeholder cirkel, tekst, Font/skrifttype, logo&#10;&#10;Automatisk genereret beskrivelse">
              <a:extLst>
                <a:ext uri="{FF2B5EF4-FFF2-40B4-BE49-F238E27FC236}">
                  <a16:creationId xmlns:a16="http://schemas.microsoft.com/office/drawing/2014/main" id="{E482FB61-A894-324E-26D4-45313AE5F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2784" y="-664608"/>
              <a:ext cx="5792382" cy="8187215"/>
            </a:xfrm>
            <a:prstGeom prst="rect">
              <a:avLst/>
            </a:prstGeom>
          </p:spPr>
        </p:pic>
        <p:sp>
          <p:nvSpPr>
            <p:cNvPr id="6" name="Tekstfelt 5">
              <a:extLst>
                <a:ext uri="{FF2B5EF4-FFF2-40B4-BE49-F238E27FC236}">
                  <a16:creationId xmlns:a16="http://schemas.microsoft.com/office/drawing/2014/main" id="{AD428355-BB79-6EA7-E9EB-DAADF2A92168}"/>
                </a:ext>
              </a:extLst>
            </p:cNvPr>
            <p:cNvSpPr txBox="1"/>
            <p:nvPr/>
          </p:nvSpPr>
          <p:spPr>
            <a:xfrm>
              <a:off x="8804275" y="3086099"/>
              <a:ext cx="1508125" cy="685800"/>
            </a:xfrm>
            <a:prstGeom prst="rect">
              <a:avLst/>
            </a:prstGeom>
            <a:solidFill>
              <a:srgbClr val="E9E6E2"/>
            </a:solidFill>
          </p:spPr>
          <p:txBody>
            <a:bodyPr wrap="square" lIns="0" tIns="25200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P Lif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1143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42DF38-3E10-B281-4ACD-E181AE706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da-DK" dirty="0"/>
              <a:t>Værdi for </a:t>
            </a:r>
            <a:br>
              <a:rPr lang="da-DK" dirty="0"/>
            </a:br>
            <a:r>
              <a:rPr lang="da-DK" b="0" dirty="0"/>
              <a:t>jeres medarbejder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4C3533F-3F93-FC8A-878C-E6B0A610F6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3200" y="2664000"/>
            <a:ext cx="5332800" cy="3647900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da-DK" sz="1400" b="1" dirty="0"/>
              <a:t>Indsigt i egen sundhed </a:t>
            </a:r>
            <a:br>
              <a:rPr lang="da-DK" sz="1400" b="1" dirty="0"/>
            </a:br>
            <a:r>
              <a:rPr lang="da-DK" sz="1400" dirty="0"/>
              <a:t>med en individuel sundhedsrapport </a:t>
            </a:r>
          </a:p>
          <a:p>
            <a:pPr>
              <a:spcAft>
                <a:spcPts val="1200"/>
              </a:spcAft>
            </a:pPr>
            <a:r>
              <a:rPr lang="da-DK" sz="1400" b="1" dirty="0"/>
              <a:t>Forslag til 3 fokusområder </a:t>
            </a:r>
            <a:br>
              <a:rPr lang="da-DK" sz="1400" b="1" dirty="0"/>
            </a:br>
            <a:r>
              <a:rPr lang="da-DK" sz="1400" dirty="0"/>
              <a:t>til forbedret sundhed</a:t>
            </a:r>
          </a:p>
          <a:p>
            <a:pPr>
              <a:spcAft>
                <a:spcPts val="1200"/>
              </a:spcAft>
            </a:pPr>
            <a:r>
              <a:rPr lang="da-DK" sz="1400" b="1" dirty="0"/>
              <a:t>Viden, værktøjer og træningsvideoer</a:t>
            </a:r>
            <a:br>
              <a:rPr lang="da-DK" sz="1400" dirty="0"/>
            </a:br>
            <a:r>
              <a:rPr lang="da-DK" sz="1400" dirty="0"/>
              <a:t>til at fremme fysisk- og mental sundhed</a:t>
            </a:r>
          </a:p>
          <a:p>
            <a:pPr>
              <a:spcAft>
                <a:spcPts val="1200"/>
              </a:spcAft>
            </a:pPr>
            <a:r>
              <a:rPr lang="da-DK" sz="1400" b="1" dirty="0"/>
              <a:t>Nem adgang til alle relevante sundhedstilbud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879E9A4-341D-B8F8-E763-AB242FDB5F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13" name="Content Placeholder 5">
            <a:extLst>
              <a:ext uri="{FF2B5EF4-FFF2-40B4-BE49-F238E27FC236}">
                <a16:creationId xmlns:a16="http://schemas.microsoft.com/office/drawing/2014/main" id="{F601A579-7524-F863-E31F-A2054C2711A5}"/>
              </a:ext>
            </a:extLst>
          </p:cNvPr>
          <p:cNvPicPr>
            <a:picLocks noGrp="1" noChangeAspect="1"/>
          </p:cNvPicPr>
          <p:nvPr>
            <p:ph sz="half" idx="2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" t="21724" r="22595" b="12046"/>
          <a:stretch/>
        </p:blipFill>
        <p:spPr>
          <a:xfrm flipH="1">
            <a:off x="7607299" y="2664000"/>
            <a:ext cx="3822698" cy="2416000"/>
          </a:xfrm>
        </p:spPr>
      </p:pic>
    </p:spTree>
    <p:extLst>
      <p:ext uri="{BB962C8B-B14F-4D97-AF65-F5344CB8AC3E}">
        <p14:creationId xmlns:p14="http://schemas.microsoft.com/office/powerpoint/2010/main" val="2520071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9BAA909-9E60-DF02-E847-90C66396C0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BAA909-9E60-DF02-E847-90C66396C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42DF38-3E10-B281-4ACD-E181AE706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Værdi for </a:t>
            </a:r>
            <a:br>
              <a:rPr lang="da-DK" dirty="0"/>
            </a:br>
            <a:r>
              <a:rPr lang="da-DK" b="0" dirty="0"/>
              <a:t>jeres virksomhed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4C3533F-3F93-FC8A-878C-E6B0A610F6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b="1" dirty="0"/>
              <a:t>Databaseret viden og rådgivning </a:t>
            </a:r>
            <a:br>
              <a:rPr lang="da-DK" sz="1400" b="1" dirty="0"/>
            </a:br>
            <a:r>
              <a:rPr lang="da-DK" sz="1400" dirty="0"/>
              <a:t>om sundhedstilstanden i jeres virksomhed*​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b="1" dirty="0"/>
              <a:t>Mulighed for pulsmålinger </a:t>
            </a:r>
            <a:br>
              <a:rPr lang="da-DK" sz="1400" b="1" dirty="0"/>
            </a:br>
            <a:r>
              <a:rPr lang="da-DK" sz="1400" dirty="0"/>
              <a:t>der viser værdien af jeres indsatser</a:t>
            </a:r>
            <a:r>
              <a:rPr lang="da-DK" sz="1400" b="1" dirty="0"/>
              <a:t>​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b="1" dirty="0"/>
              <a:t>Sundhedsfremmende koncepter og værktøjer </a:t>
            </a:r>
            <a:br>
              <a:rPr lang="da-DK" sz="1400" b="1" dirty="0"/>
            </a:br>
            <a:r>
              <a:rPr lang="da-DK" sz="1400" dirty="0"/>
              <a:t>Fri adgang</a:t>
            </a:r>
            <a:r>
              <a:rPr lang="da-DK" sz="1400" b="1" dirty="0"/>
              <a:t>​</a:t>
            </a:r>
          </a:p>
          <a:p>
            <a:pPr marL="180000" indent="-18000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a-DK" sz="1400" b="1" dirty="0"/>
              <a:t>Mulighed for at integrere APV og samle data </a:t>
            </a:r>
            <a:br>
              <a:rPr lang="da-DK" sz="1400" b="1" dirty="0"/>
            </a:br>
            <a:r>
              <a:rPr lang="da-DK" sz="1400" dirty="0"/>
              <a:t>om sundhed og arbejdsmiljø​</a:t>
            </a:r>
          </a:p>
        </p:txBody>
      </p:sp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BD125D07-9478-C365-0B70-1FE40CD08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6B8FAC43-2380-6406-523C-369AEDCAE413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7251700" y="1432561"/>
            <a:ext cx="4940300" cy="4879340"/>
          </a:xfrm>
          <a:solidFill>
            <a:srgbClr val="F2F2F2"/>
          </a:solidFill>
        </p:spPr>
        <p:txBody>
          <a:bodyPr lIns="144000" tIns="144000" rIns="144000" bIns="144000"/>
          <a:lstStyle/>
          <a:p>
            <a:pPr marL="0" indent="0">
              <a:spcAft>
                <a:spcPts val="600"/>
              </a:spcAft>
              <a:buNone/>
            </a:pPr>
            <a:r>
              <a:rPr lang="da-DK" sz="1400" b="1" dirty="0">
                <a:solidFill>
                  <a:srgbClr val="FF4D1D"/>
                </a:solidFill>
              </a:rPr>
              <a:t>Forebyggelse af </a:t>
            </a:r>
            <a:br>
              <a:rPr lang="da-DK" sz="1400" b="1" dirty="0">
                <a:solidFill>
                  <a:srgbClr val="FF4D1D"/>
                </a:solidFill>
              </a:rPr>
            </a:br>
            <a:r>
              <a:rPr lang="da-DK" sz="1400" b="1" dirty="0">
                <a:solidFill>
                  <a:srgbClr val="FF4D1D"/>
                </a:solidFill>
              </a:rPr>
              <a:t>mental og fysisk sundhed understøtter </a:t>
            </a:r>
          </a:p>
          <a:p>
            <a:pPr>
              <a:spcBef>
                <a:spcPts val="1200"/>
              </a:spcBef>
            </a:pPr>
            <a:r>
              <a:rPr lang="da-DK" sz="1200" b="1" dirty="0">
                <a:solidFill>
                  <a:schemeClr val="tx1"/>
                </a:solidFill>
              </a:rPr>
              <a:t>FN’s verdensmål 3</a:t>
            </a:r>
            <a:r>
              <a:rPr lang="da-DK" sz="1200" dirty="0">
                <a:solidFill>
                  <a:schemeClr val="tx1"/>
                </a:solidFill>
              </a:rPr>
              <a:t>:</a:t>
            </a:r>
            <a:r>
              <a:rPr lang="da-DK" sz="1200" b="1" dirty="0">
                <a:solidFill>
                  <a:schemeClr val="tx1"/>
                </a:solidFill>
              </a:rPr>
              <a:t> </a:t>
            </a:r>
            <a:r>
              <a:rPr lang="da-DK" sz="1200" dirty="0">
                <a:solidFill>
                  <a:schemeClr val="tx1"/>
                </a:solidFill>
              </a:rPr>
              <a:t>Sundhed og trivsel</a:t>
            </a:r>
          </a:p>
          <a:p>
            <a:pPr>
              <a:spcBef>
                <a:spcPts val="1200"/>
              </a:spcBef>
            </a:pPr>
            <a:r>
              <a:rPr lang="da-DK" sz="1200" b="1" dirty="0">
                <a:solidFill>
                  <a:schemeClr val="tx1"/>
                </a:solidFill>
              </a:rPr>
              <a:t>FN’s verdensmål 8</a:t>
            </a:r>
            <a:r>
              <a:rPr lang="da-DK" sz="1200" dirty="0">
                <a:solidFill>
                  <a:schemeClr val="tx1"/>
                </a:solidFill>
              </a:rPr>
              <a:t>:</a:t>
            </a:r>
            <a:r>
              <a:rPr lang="da-DK" sz="1200" b="1" dirty="0">
                <a:solidFill>
                  <a:schemeClr val="tx1"/>
                </a:solidFill>
              </a:rPr>
              <a:t> </a:t>
            </a:r>
            <a:r>
              <a:rPr lang="da-DK" sz="1200" dirty="0">
                <a:solidFill>
                  <a:schemeClr val="tx1"/>
                </a:solidFill>
              </a:rPr>
              <a:t>Anstændige jobs</a:t>
            </a:r>
          </a:p>
          <a:p>
            <a:pPr>
              <a:spcBef>
                <a:spcPts val="1200"/>
              </a:spcBef>
            </a:pPr>
            <a:r>
              <a:rPr lang="da-DK" sz="1200" dirty="0">
                <a:solidFill>
                  <a:schemeClr val="tx1"/>
                </a:solidFill>
              </a:rPr>
              <a:t>Kan rapporteres under ”S” (socialt ansvar) i ESG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0A75D5F-8D57-A85C-F664-CD5C2F72019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63200" y="6454775"/>
            <a:ext cx="8094663" cy="403225"/>
          </a:xfrm>
        </p:spPr>
        <p:txBody>
          <a:bodyPr/>
          <a:lstStyle/>
          <a:p>
            <a:pPr marL="0" indent="0">
              <a:buNone/>
            </a:pPr>
            <a:r>
              <a:rPr lang="da-DK" sz="1000" dirty="0"/>
              <a:t>*Sundhedsscreening: anonymiseret virksomhedsrapport genereres ved min</a:t>
            </a:r>
            <a:r>
              <a:rPr lang="da-DK" sz="1000"/>
              <a:t>. 20 </a:t>
            </a:r>
            <a:r>
              <a:rPr lang="da-DK" sz="1000" dirty="0"/>
              <a:t>besvarelser. </a:t>
            </a:r>
            <a:br>
              <a:rPr lang="da-DK" sz="1000" dirty="0"/>
            </a:br>
            <a:r>
              <a:rPr lang="da-DK" sz="1000" dirty="0"/>
              <a:t>  APV ved min. 5 besvarelser.</a:t>
            </a:r>
          </a:p>
        </p:txBody>
      </p:sp>
    </p:spTree>
    <p:extLst>
      <p:ext uri="{BB962C8B-B14F-4D97-AF65-F5344CB8AC3E}">
        <p14:creationId xmlns:p14="http://schemas.microsoft.com/office/powerpoint/2010/main" val="2871441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6"/>
          <p:cNvSpPr>
            <a:spLocks/>
          </p:cNvSpPr>
          <p:nvPr/>
        </p:nvSpPr>
        <p:spPr bwMode="auto">
          <a:xfrm>
            <a:off x="8965245" y="3598753"/>
            <a:ext cx="1701717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4" name="AutoShape 7"/>
          <p:cNvSpPr>
            <a:spLocks/>
          </p:cNvSpPr>
          <p:nvPr/>
        </p:nvSpPr>
        <p:spPr bwMode="auto">
          <a:xfrm>
            <a:off x="7417496" y="3598753"/>
            <a:ext cx="1700822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5" name="AutoShape 8"/>
          <p:cNvSpPr>
            <a:spLocks/>
          </p:cNvSpPr>
          <p:nvPr/>
        </p:nvSpPr>
        <p:spPr bwMode="auto">
          <a:xfrm>
            <a:off x="5876015" y="3598753"/>
            <a:ext cx="1701717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6" name="AutoShape 9"/>
          <p:cNvSpPr>
            <a:spLocks/>
          </p:cNvSpPr>
          <p:nvPr/>
        </p:nvSpPr>
        <p:spPr bwMode="auto">
          <a:xfrm>
            <a:off x="4341693" y="3598753"/>
            <a:ext cx="1701717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7" name="AutoShape 10"/>
          <p:cNvSpPr>
            <a:spLocks/>
          </p:cNvSpPr>
          <p:nvPr/>
        </p:nvSpPr>
        <p:spPr bwMode="auto">
          <a:xfrm>
            <a:off x="2801107" y="3598753"/>
            <a:ext cx="1700822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8" name="AutoShape 11"/>
          <p:cNvSpPr>
            <a:spLocks/>
          </p:cNvSpPr>
          <p:nvPr/>
        </p:nvSpPr>
        <p:spPr bwMode="auto">
          <a:xfrm>
            <a:off x="1232771" y="3598753"/>
            <a:ext cx="1701717" cy="166545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9" name="AutoShape 13"/>
          <p:cNvSpPr>
            <a:spLocks/>
          </p:cNvSpPr>
          <p:nvPr/>
        </p:nvSpPr>
        <p:spPr bwMode="auto">
          <a:xfrm>
            <a:off x="1170864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0" name="AutoShape 16"/>
          <p:cNvSpPr>
            <a:spLocks/>
          </p:cNvSpPr>
          <p:nvPr/>
        </p:nvSpPr>
        <p:spPr bwMode="auto">
          <a:xfrm>
            <a:off x="5783775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1" name="AutoShape 19"/>
          <p:cNvSpPr>
            <a:spLocks/>
          </p:cNvSpPr>
          <p:nvPr/>
        </p:nvSpPr>
        <p:spPr bwMode="auto">
          <a:xfrm>
            <a:off x="2715300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2"/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2" name="AutoShape 22"/>
          <p:cNvSpPr>
            <a:spLocks/>
          </p:cNvSpPr>
          <p:nvPr/>
        </p:nvSpPr>
        <p:spPr bwMode="auto">
          <a:xfrm>
            <a:off x="8867648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2"/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2BB1E8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3" name="AutoShape 25"/>
          <p:cNvSpPr>
            <a:spLocks/>
          </p:cNvSpPr>
          <p:nvPr/>
        </p:nvSpPr>
        <p:spPr bwMode="auto">
          <a:xfrm>
            <a:off x="10426313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2BB1E8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4" name="AutoShape 28"/>
          <p:cNvSpPr>
            <a:spLocks/>
          </p:cNvSpPr>
          <p:nvPr/>
        </p:nvSpPr>
        <p:spPr bwMode="auto">
          <a:xfrm>
            <a:off x="4209558" y="3493096"/>
            <a:ext cx="376867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3"/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5" name="AutoShape 31"/>
          <p:cNvSpPr>
            <a:spLocks/>
          </p:cNvSpPr>
          <p:nvPr/>
        </p:nvSpPr>
        <p:spPr bwMode="auto">
          <a:xfrm>
            <a:off x="7375104" y="3493096"/>
            <a:ext cx="377762" cy="377861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5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4" name="AutoShape 54"/>
          <p:cNvSpPr>
            <a:spLocks/>
          </p:cNvSpPr>
          <p:nvPr/>
        </p:nvSpPr>
        <p:spPr bwMode="auto">
          <a:xfrm rot="21599989">
            <a:off x="1219203" y="3162692"/>
            <a:ext cx="281084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5" name="AutoShape 55"/>
          <p:cNvSpPr>
            <a:spLocks/>
          </p:cNvSpPr>
          <p:nvPr/>
        </p:nvSpPr>
        <p:spPr bwMode="auto">
          <a:xfrm rot="21599989">
            <a:off x="4257002" y="3162692"/>
            <a:ext cx="281979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6" name="AutoShape 56"/>
          <p:cNvSpPr>
            <a:spLocks/>
          </p:cNvSpPr>
          <p:nvPr/>
        </p:nvSpPr>
        <p:spPr bwMode="auto">
          <a:xfrm rot="21599989">
            <a:off x="7422996" y="3162692"/>
            <a:ext cx="281979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7" name="AutoShape 57"/>
          <p:cNvSpPr>
            <a:spLocks/>
          </p:cNvSpPr>
          <p:nvPr/>
        </p:nvSpPr>
        <p:spPr bwMode="auto">
          <a:xfrm rot="21599989">
            <a:off x="10474205" y="3162692"/>
            <a:ext cx="281978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8" name="AutoShape 58"/>
          <p:cNvSpPr>
            <a:spLocks/>
          </p:cNvSpPr>
          <p:nvPr/>
        </p:nvSpPr>
        <p:spPr bwMode="auto">
          <a:xfrm rot="10799989">
            <a:off x="8915540" y="4034815"/>
            <a:ext cx="281978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29" name="AutoShape 59"/>
          <p:cNvSpPr>
            <a:spLocks/>
          </p:cNvSpPr>
          <p:nvPr/>
        </p:nvSpPr>
        <p:spPr bwMode="auto">
          <a:xfrm rot="10799989">
            <a:off x="5831667" y="4034815"/>
            <a:ext cx="281979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30" name="AutoShape 60"/>
          <p:cNvSpPr>
            <a:spLocks/>
          </p:cNvSpPr>
          <p:nvPr/>
        </p:nvSpPr>
        <p:spPr bwMode="auto">
          <a:xfrm rot="10799989">
            <a:off x="2763192" y="4034815"/>
            <a:ext cx="281979" cy="18803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38092" tIns="38092" rIns="38092" bIns="38092" anchor="ctr"/>
          <a:lstStyle/>
          <a:p>
            <a:pPr marL="0" marR="0" lvl="0" indent="0" algn="l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902545" y="4008559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2446981" y="240842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940791" y="4008559"/>
            <a:ext cx="914400" cy="9144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5515456" y="2408421"/>
            <a:ext cx="914400" cy="9144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106785" y="4008559"/>
            <a:ext cx="914400" cy="9144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8599329" y="2408421"/>
            <a:ext cx="914400" cy="914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57994" y="4008559"/>
            <a:ext cx="914400" cy="914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70668" y="1659600"/>
            <a:ext cx="16874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Onboardingmøde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45 mi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53364" y="2109600"/>
            <a:ext cx="201276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I planlægger proces med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P Life support team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Ved APV tilpasses spørgerammen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075256" y="4400002"/>
            <a:ext cx="1673069" cy="257369"/>
          </a:xfrm>
          <a:prstGeom prst="rect">
            <a:avLst/>
          </a:prstGeom>
          <a:noFill/>
        </p:spPr>
        <p:txBody>
          <a:bodyPr wrap="non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Onboardingpakk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897800" y="4755973"/>
            <a:ext cx="201276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I sender </a:t>
            </a:r>
          </a:p>
          <a:p>
            <a:pPr marL="273050" marR="0" lvl="0" indent="-936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Medarbejderlister</a:t>
            </a:r>
          </a:p>
          <a:p>
            <a:pPr marL="273050" marR="0" lvl="0" indent="-936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Y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delsesoverblik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273050" marR="0" lvl="0" indent="-936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S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ystemforberedelser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</a:p>
          <a:p>
            <a:pPr marL="273050" marR="0" lvl="0" indent="-936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D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tabehandleraftale</a:t>
            </a:r>
            <a:b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lang="da-DK" sz="1000" i="1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underskrevet</a:t>
            </a:r>
            <a:b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endParaRPr lang="da-DK" sz="1000" dirty="0">
              <a:solidFill>
                <a:srgbClr val="000000"/>
              </a:solidFill>
              <a:latin typeface="Verdana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til AP Life support team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10691" y="1659600"/>
            <a:ext cx="1374600" cy="442035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Kickof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30 mi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391610" y="2109171"/>
            <a:ext cx="201276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Informationsmøde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for alle medarbejdere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om sundhedsscreening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223490" y="4400002"/>
            <a:ext cx="1498342" cy="257369"/>
          </a:xfrm>
          <a:prstGeom prst="rect">
            <a:avLst/>
          </a:prstGeom>
          <a:noFill/>
        </p:spPr>
        <p:txBody>
          <a:bodyPr wrap="non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0"/>
              </a:rPr>
              <a:t>Dataindsamling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Poppins" panose="00000500000000000000" pitchFamily="2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966275" y="4755973"/>
            <a:ext cx="201276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667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lle medarbejdere modtager mail med link til undersøgelser. </a:t>
            </a:r>
          </a:p>
          <a:p>
            <a:pPr marL="0" marR="0" lvl="0" indent="0" algn="ctr" defTabSz="4667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Med sundhedsscreeningen følger personlig  sundhedsrapport med forslag til fokusområder.</a:t>
            </a:r>
          </a:p>
          <a:p>
            <a:pPr marL="0" marR="0" lvl="0" indent="0" algn="ctr" defTabSz="46672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Fri adgang til AP Life sundhedsunivers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118706" y="1659600"/>
            <a:ext cx="918054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0"/>
              </a:rPr>
              <a:t>Resulta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0"/>
              </a:rPr>
              <a:t>60 min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Poppins" panose="00000500000000000000" pitchFamily="2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567464" y="2109600"/>
            <a:ext cx="201276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P Pension yder rådgivning ud fra virksomhedsrapport om prioritering af indsatser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277706" y="4400002"/>
            <a:ext cx="1557652" cy="257369"/>
          </a:xfrm>
          <a:prstGeom prst="rect">
            <a:avLst/>
          </a:prstGeom>
          <a:noFill/>
        </p:spPr>
        <p:txBody>
          <a:bodyPr wrap="non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Poppins" panose="00000500000000000000" pitchFamily="2" charset="0"/>
              </a:rPr>
              <a:t>Handlingsplaner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Poppins" panose="00000500000000000000" pitchFamily="2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8050148" y="4755973"/>
            <a:ext cx="20127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dgang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 til AP Pensions organisatoriske sundhedskoncepter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dirty="0">
                <a:solidFill>
                  <a:srgbClr val="000000"/>
                </a:solidFill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I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prioriterer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konkrete indsatser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593336" y="1658328"/>
            <a:ext cx="2012762" cy="442035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Pulsmål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2x5 mi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9608813" y="2109600"/>
            <a:ext cx="2012762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I kan supplere med puls-målinger, der viser værdien af indsatsern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Alle medarbejdere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besvarer få spørgsmål, </a:t>
            </a:r>
            <a:b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</a:b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Roboto Light" panose="02000000000000000000" pitchFamily="2" charset="0"/>
                <a:cs typeface="Roboto Light" panose="02000000000000000000" pitchFamily="2" charset="0"/>
              </a:rPr>
              <a:t>før og X mdr. efter.</a:t>
            </a:r>
          </a:p>
        </p:txBody>
      </p:sp>
      <p:sp>
        <p:nvSpPr>
          <p:cNvPr id="52" name="Freeform 22"/>
          <p:cNvSpPr>
            <a:spLocks noEditPoints="1"/>
          </p:cNvSpPr>
          <p:nvPr/>
        </p:nvSpPr>
        <p:spPr bwMode="auto">
          <a:xfrm>
            <a:off x="1147371" y="4270006"/>
            <a:ext cx="390525" cy="395288"/>
          </a:xfrm>
          <a:custGeom>
            <a:avLst/>
            <a:gdLst>
              <a:gd name="T0" fmla="*/ 104 w 104"/>
              <a:gd name="T1" fmla="*/ 52 h 105"/>
              <a:gd name="T2" fmla="*/ 53 w 104"/>
              <a:gd name="T3" fmla="*/ 104 h 105"/>
              <a:gd name="T4" fmla="*/ 1 w 104"/>
              <a:gd name="T5" fmla="*/ 53 h 105"/>
              <a:gd name="T6" fmla="*/ 52 w 104"/>
              <a:gd name="T7" fmla="*/ 1 h 105"/>
              <a:gd name="T8" fmla="*/ 104 w 104"/>
              <a:gd name="T9" fmla="*/ 52 h 105"/>
              <a:gd name="T10" fmla="*/ 93 w 104"/>
              <a:gd name="T11" fmla="*/ 52 h 105"/>
              <a:gd name="T12" fmla="*/ 52 w 104"/>
              <a:gd name="T13" fmla="*/ 12 h 105"/>
              <a:gd name="T14" fmla="*/ 11 w 104"/>
              <a:gd name="T15" fmla="*/ 53 h 105"/>
              <a:gd name="T16" fmla="*/ 53 w 104"/>
              <a:gd name="T17" fmla="*/ 94 h 105"/>
              <a:gd name="T18" fmla="*/ 93 w 104"/>
              <a:gd name="T19" fmla="*/ 52 h 105"/>
              <a:gd name="T20" fmla="*/ 42 w 104"/>
              <a:gd name="T21" fmla="*/ 42 h 105"/>
              <a:gd name="T22" fmla="*/ 77 w 104"/>
              <a:gd name="T23" fmla="*/ 28 h 105"/>
              <a:gd name="T24" fmla="*/ 63 w 104"/>
              <a:gd name="T25" fmla="*/ 63 h 105"/>
              <a:gd name="T26" fmla="*/ 28 w 104"/>
              <a:gd name="T27" fmla="*/ 77 h 105"/>
              <a:gd name="T28" fmla="*/ 42 w 104"/>
              <a:gd name="T29" fmla="*/ 42 h 105"/>
              <a:gd name="T30" fmla="*/ 47 w 104"/>
              <a:gd name="T31" fmla="*/ 58 h 105"/>
              <a:gd name="T32" fmla="*/ 58 w 104"/>
              <a:gd name="T33" fmla="*/ 58 h 105"/>
              <a:gd name="T34" fmla="*/ 67 w 104"/>
              <a:gd name="T35" fmla="*/ 37 h 105"/>
              <a:gd name="T36" fmla="*/ 47 w 104"/>
              <a:gd name="T37" fmla="*/ 47 h 105"/>
              <a:gd name="T38" fmla="*/ 47 w 104"/>
              <a:gd name="T39" fmla="*/ 58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4" h="105">
                <a:moveTo>
                  <a:pt x="104" y="52"/>
                </a:moveTo>
                <a:cubicBezTo>
                  <a:pt x="104" y="80"/>
                  <a:pt x="82" y="104"/>
                  <a:pt x="53" y="104"/>
                </a:cubicBezTo>
                <a:cubicBezTo>
                  <a:pt x="24" y="105"/>
                  <a:pt x="1" y="82"/>
                  <a:pt x="1" y="53"/>
                </a:cubicBezTo>
                <a:cubicBezTo>
                  <a:pt x="0" y="25"/>
                  <a:pt x="23" y="1"/>
                  <a:pt x="52" y="1"/>
                </a:cubicBezTo>
                <a:cubicBezTo>
                  <a:pt x="80" y="0"/>
                  <a:pt x="104" y="23"/>
                  <a:pt x="104" y="52"/>
                </a:cubicBezTo>
                <a:close/>
                <a:moveTo>
                  <a:pt x="93" y="52"/>
                </a:moveTo>
                <a:cubicBezTo>
                  <a:pt x="93" y="29"/>
                  <a:pt x="74" y="11"/>
                  <a:pt x="52" y="12"/>
                </a:cubicBezTo>
                <a:cubicBezTo>
                  <a:pt x="29" y="12"/>
                  <a:pt x="11" y="31"/>
                  <a:pt x="11" y="53"/>
                </a:cubicBezTo>
                <a:cubicBezTo>
                  <a:pt x="12" y="76"/>
                  <a:pt x="30" y="94"/>
                  <a:pt x="53" y="94"/>
                </a:cubicBezTo>
                <a:cubicBezTo>
                  <a:pt x="76" y="93"/>
                  <a:pt x="93" y="75"/>
                  <a:pt x="93" y="52"/>
                </a:cubicBezTo>
                <a:close/>
                <a:moveTo>
                  <a:pt x="42" y="42"/>
                </a:moveTo>
                <a:cubicBezTo>
                  <a:pt x="52" y="31"/>
                  <a:pt x="77" y="28"/>
                  <a:pt x="77" y="28"/>
                </a:cubicBezTo>
                <a:cubicBezTo>
                  <a:pt x="77" y="28"/>
                  <a:pt x="74" y="53"/>
                  <a:pt x="63" y="63"/>
                </a:cubicBezTo>
                <a:cubicBezTo>
                  <a:pt x="52" y="74"/>
                  <a:pt x="28" y="77"/>
                  <a:pt x="28" y="77"/>
                </a:cubicBezTo>
                <a:cubicBezTo>
                  <a:pt x="28" y="77"/>
                  <a:pt x="31" y="52"/>
                  <a:pt x="42" y="42"/>
                </a:cubicBezTo>
                <a:close/>
                <a:moveTo>
                  <a:pt x="47" y="58"/>
                </a:moveTo>
                <a:cubicBezTo>
                  <a:pt x="50" y="61"/>
                  <a:pt x="55" y="61"/>
                  <a:pt x="58" y="58"/>
                </a:cubicBezTo>
                <a:cubicBezTo>
                  <a:pt x="62" y="53"/>
                  <a:pt x="65" y="45"/>
                  <a:pt x="67" y="37"/>
                </a:cubicBezTo>
                <a:cubicBezTo>
                  <a:pt x="60" y="39"/>
                  <a:pt x="51" y="43"/>
                  <a:pt x="47" y="47"/>
                </a:cubicBezTo>
                <a:cubicBezTo>
                  <a:pt x="44" y="50"/>
                  <a:pt x="44" y="55"/>
                  <a:pt x="47" y="5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28"/>
          <p:cNvSpPr>
            <a:spLocks noEditPoints="1"/>
          </p:cNvSpPr>
          <p:nvPr/>
        </p:nvSpPr>
        <p:spPr bwMode="auto">
          <a:xfrm>
            <a:off x="10415567" y="4274470"/>
            <a:ext cx="368300" cy="347663"/>
          </a:xfrm>
          <a:custGeom>
            <a:avLst/>
            <a:gdLst>
              <a:gd name="T0" fmla="*/ 5 w 98"/>
              <a:gd name="T1" fmla="*/ 38 h 92"/>
              <a:gd name="T2" fmla="*/ 22 w 98"/>
              <a:gd name="T3" fmla="*/ 38 h 92"/>
              <a:gd name="T4" fmla="*/ 22 w 98"/>
              <a:gd name="T5" fmla="*/ 81 h 92"/>
              <a:gd name="T6" fmla="*/ 5 w 98"/>
              <a:gd name="T7" fmla="*/ 81 h 92"/>
              <a:gd name="T8" fmla="*/ 0 w 98"/>
              <a:gd name="T9" fmla="*/ 76 h 92"/>
              <a:gd name="T10" fmla="*/ 0 w 98"/>
              <a:gd name="T11" fmla="*/ 42 h 92"/>
              <a:gd name="T12" fmla="*/ 5 w 98"/>
              <a:gd name="T13" fmla="*/ 38 h 92"/>
              <a:gd name="T14" fmla="*/ 98 w 98"/>
              <a:gd name="T15" fmla="*/ 47 h 92"/>
              <a:gd name="T16" fmla="*/ 98 w 98"/>
              <a:gd name="T17" fmla="*/ 73 h 92"/>
              <a:gd name="T18" fmla="*/ 74 w 98"/>
              <a:gd name="T19" fmla="*/ 92 h 92"/>
              <a:gd name="T20" fmla="*/ 51 w 98"/>
              <a:gd name="T21" fmla="*/ 92 h 92"/>
              <a:gd name="T22" fmla="*/ 27 w 98"/>
              <a:gd name="T23" fmla="*/ 81 h 92"/>
              <a:gd name="T24" fmla="*/ 27 w 98"/>
              <a:gd name="T25" fmla="*/ 38 h 92"/>
              <a:gd name="T26" fmla="*/ 29 w 98"/>
              <a:gd name="T27" fmla="*/ 38 h 92"/>
              <a:gd name="T28" fmla="*/ 52 w 98"/>
              <a:gd name="T29" fmla="*/ 16 h 92"/>
              <a:gd name="T30" fmla="*/ 58 w 98"/>
              <a:gd name="T31" fmla="*/ 0 h 92"/>
              <a:gd name="T32" fmla="*/ 66 w 98"/>
              <a:gd name="T33" fmla="*/ 15 h 92"/>
              <a:gd name="T34" fmla="*/ 65 w 98"/>
              <a:gd name="T35" fmla="*/ 32 h 92"/>
              <a:gd name="T36" fmla="*/ 85 w 98"/>
              <a:gd name="T37" fmla="*/ 31 h 92"/>
              <a:gd name="T38" fmla="*/ 98 w 98"/>
              <a:gd name="T39" fmla="*/ 47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8" h="92">
                <a:moveTo>
                  <a:pt x="5" y="38"/>
                </a:moveTo>
                <a:cubicBezTo>
                  <a:pt x="22" y="38"/>
                  <a:pt x="22" y="38"/>
                  <a:pt x="22" y="38"/>
                </a:cubicBezTo>
                <a:cubicBezTo>
                  <a:pt x="22" y="81"/>
                  <a:pt x="22" y="81"/>
                  <a:pt x="22" y="81"/>
                </a:cubicBezTo>
                <a:cubicBezTo>
                  <a:pt x="16" y="81"/>
                  <a:pt x="5" y="81"/>
                  <a:pt x="5" y="81"/>
                </a:cubicBezTo>
                <a:cubicBezTo>
                  <a:pt x="2" y="81"/>
                  <a:pt x="0" y="79"/>
                  <a:pt x="0" y="76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40"/>
                  <a:pt x="1" y="38"/>
                  <a:pt x="5" y="38"/>
                </a:cubicBezTo>
                <a:close/>
                <a:moveTo>
                  <a:pt x="98" y="47"/>
                </a:moveTo>
                <a:cubicBezTo>
                  <a:pt x="98" y="73"/>
                  <a:pt x="98" y="73"/>
                  <a:pt x="98" y="73"/>
                </a:cubicBezTo>
                <a:cubicBezTo>
                  <a:pt x="98" y="81"/>
                  <a:pt x="85" y="92"/>
                  <a:pt x="74" y="92"/>
                </a:cubicBezTo>
                <a:cubicBezTo>
                  <a:pt x="74" y="92"/>
                  <a:pt x="58" y="92"/>
                  <a:pt x="51" y="92"/>
                </a:cubicBezTo>
                <a:cubicBezTo>
                  <a:pt x="40" y="92"/>
                  <a:pt x="40" y="81"/>
                  <a:pt x="27" y="81"/>
                </a:cubicBezTo>
                <a:cubicBezTo>
                  <a:pt x="27" y="38"/>
                  <a:pt x="27" y="38"/>
                  <a:pt x="27" y="38"/>
                </a:cubicBezTo>
                <a:cubicBezTo>
                  <a:pt x="29" y="38"/>
                  <a:pt x="29" y="38"/>
                  <a:pt x="29" y="38"/>
                </a:cubicBezTo>
                <a:cubicBezTo>
                  <a:pt x="38" y="38"/>
                  <a:pt x="50" y="23"/>
                  <a:pt x="52" y="16"/>
                </a:cubicBezTo>
                <a:cubicBezTo>
                  <a:pt x="54" y="8"/>
                  <a:pt x="52" y="0"/>
                  <a:pt x="58" y="0"/>
                </a:cubicBezTo>
                <a:cubicBezTo>
                  <a:pt x="64" y="0"/>
                  <a:pt x="66" y="4"/>
                  <a:pt x="66" y="15"/>
                </a:cubicBezTo>
                <a:cubicBezTo>
                  <a:pt x="65" y="32"/>
                  <a:pt x="65" y="32"/>
                  <a:pt x="65" y="32"/>
                </a:cubicBezTo>
                <a:cubicBezTo>
                  <a:pt x="65" y="32"/>
                  <a:pt x="79" y="31"/>
                  <a:pt x="85" y="31"/>
                </a:cubicBezTo>
                <a:cubicBezTo>
                  <a:pt x="93" y="31"/>
                  <a:pt x="98" y="37"/>
                  <a:pt x="98" y="4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C4C302-206F-9E8A-D8C2-7D4C4549C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nboarding </a:t>
            </a:r>
            <a:r>
              <a:rPr lang="en-GB" err="1"/>
              <a:t>af</a:t>
            </a:r>
            <a:r>
              <a:rPr lang="en-GB"/>
              <a:t> AP Life</a:t>
            </a:r>
          </a:p>
        </p:txBody>
      </p:sp>
      <p:sp>
        <p:nvSpPr>
          <p:cNvPr id="66" name="Tekstfelt 65">
            <a:extLst>
              <a:ext uri="{FF2B5EF4-FFF2-40B4-BE49-F238E27FC236}">
                <a16:creationId xmlns:a16="http://schemas.microsoft.com/office/drawing/2014/main" id="{38DC46AA-F43C-4C11-CEC7-3F85F864695C}"/>
              </a:ext>
            </a:extLst>
          </p:cNvPr>
          <p:cNvSpPr txBox="1"/>
          <p:nvPr/>
        </p:nvSpPr>
        <p:spPr>
          <a:xfrm>
            <a:off x="1170864" y="3475270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Tekstfelt 66">
            <a:extLst>
              <a:ext uri="{FF2B5EF4-FFF2-40B4-BE49-F238E27FC236}">
                <a16:creationId xmlns:a16="http://schemas.microsoft.com/office/drawing/2014/main" id="{038FF097-D787-EB9B-5813-3E4944AA48F4}"/>
              </a:ext>
            </a:extLst>
          </p:cNvPr>
          <p:cNvSpPr txBox="1"/>
          <p:nvPr/>
        </p:nvSpPr>
        <p:spPr>
          <a:xfrm>
            <a:off x="2715300" y="3482708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Tekstfelt 68">
            <a:extLst>
              <a:ext uri="{FF2B5EF4-FFF2-40B4-BE49-F238E27FC236}">
                <a16:creationId xmlns:a16="http://schemas.microsoft.com/office/drawing/2014/main" id="{3D48C0C7-2719-D175-9C3F-9D3ED31916F3}"/>
              </a:ext>
            </a:extLst>
          </p:cNvPr>
          <p:cNvSpPr txBox="1"/>
          <p:nvPr/>
        </p:nvSpPr>
        <p:spPr>
          <a:xfrm>
            <a:off x="4220285" y="3496972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2B7DCB59-3C39-3852-FE28-1FF697A4D65F}"/>
              </a:ext>
            </a:extLst>
          </p:cNvPr>
          <p:cNvSpPr txBox="1"/>
          <p:nvPr/>
        </p:nvSpPr>
        <p:spPr>
          <a:xfrm>
            <a:off x="5794651" y="3484257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4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Tekstfelt 70">
            <a:extLst>
              <a:ext uri="{FF2B5EF4-FFF2-40B4-BE49-F238E27FC236}">
                <a16:creationId xmlns:a16="http://schemas.microsoft.com/office/drawing/2014/main" id="{ED407F63-C85A-2B20-DD3B-063FD1D70217}"/>
              </a:ext>
            </a:extLst>
          </p:cNvPr>
          <p:cNvSpPr txBox="1"/>
          <p:nvPr/>
        </p:nvSpPr>
        <p:spPr>
          <a:xfrm>
            <a:off x="7385812" y="3476824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5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Tekstfelt 71">
            <a:extLst>
              <a:ext uri="{FF2B5EF4-FFF2-40B4-BE49-F238E27FC236}">
                <a16:creationId xmlns:a16="http://schemas.microsoft.com/office/drawing/2014/main" id="{55695EFD-6345-FCA0-DADC-BBEBBF19560A}"/>
              </a:ext>
            </a:extLst>
          </p:cNvPr>
          <p:cNvSpPr txBox="1"/>
          <p:nvPr/>
        </p:nvSpPr>
        <p:spPr>
          <a:xfrm>
            <a:off x="8874002" y="3494809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6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Tekstfelt 72">
            <a:extLst>
              <a:ext uri="{FF2B5EF4-FFF2-40B4-BE49-F238E27FC236}">
                <a16:creationId xmlns:a16="http://schemas.microsoft.com/office/drawing/2014/main" id="{52AD1359-250E-AFC5-241E-A8C8CA375069}"/>
              </a:ext>
            </a:extLst>
          </p:cNvPr>
          <p:cNvSpPr txBox="1"/>
          <p:nvPr/>
        </p:nvSpPr>
        <p:spPr>
          <a:xfrm>
            <a:off x="10444464" y="3487420"/>
            <a:ext cx="356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7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9535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86C145-11DB-3D67-0B98-636507EBB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</a:t>
            </a:r>
            <a:br>
              <a:rPr lang="da-DK"/>
            </a:br>
            <a:r>
              <a:rPr lang="da-DK" b="0"/>
              <a:t>Virksomhedsrapport</a:t>
            </a:r>
            <a:br>
              <a:rPr lang="da-DK"/>
            </a:b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675180CE-2162-54D7-452B-8128D6578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/>
              <a:t>Sundhedsscreening</a:t>
            </a:r>
          </a:p>
        </p:txBody>
      </p:sp>
      <p:pic>
        <p:nvPicPr>
          <p:cNvPr id="8" name="Pladsholder til billede 7">
            <a:extLst>
              <a:ext uri="{FF2B5EF4-FFF2-40B4-BE49-F238E27FC236}">
                <a16:creationId xmlns:a16="http://schemas.microsoft.com/office/drawing/2014/main" id="{2AD56982-A58F-9D19-5582-D736C2E5FD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/>
          <a:srcRect l="-2657" t="-21740" r="-3044" b="-26174"/>
          <a:stretch/>
        </p:blipFill>
        <p:spPr>
          <a:xfrm>
            <a:off x="6965950" y="0"/>
            <a:ext cx="52260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36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86C145-11DB-3D67-0B98-636507EBB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</a:t>
            </a:r>
            <a:br>
              <a:rPr lang="da-DK"/>
            </a:br>
            <a:r>
              <a:rPr lang="da-DK" b="0"/>
              <a:t>Virksomhedsrapport</a:t>
            </a:r>
            <a:br>
              <a:rPr lang="da-DK"/>
            </a:b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675180CE-2162-54D7-452B-8128D6578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/>
              <a:t>Sundhedsscreening</a:t>
            </a:r>
          </a:p>
        </p:txBody>
      </p:sp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CD5366FC-3FD7-91E6-8467-905861C01B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99F920F3-B904-7C06-53E1-5329D7587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5950" y="3124957"/>
            <a:ext cx="5159604" cy="2922541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7FDFD8BC-378B-9323-C99D-58AA6D7BF58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77"/>
          <a:stretch/>
        </p:blipFill>
        <p:spPr>
          <a:xfrm>
            <a:off x="6965950" y="377825"/>
            <a:ext cx="5195058" cy="2196499"/>
          </a:xfrm>
          <a:prstGeom prst="rect">
            <a:avLst/>
          </a:prstGeom>
        </p:spPr>
      </p:pic>
      <p:sp>
        <p:nvSpPr>
          <p:cNvPr id="3" name="Rektangel 2">
            <a:extLst>
              <a:ext uri="{FF2B5EF4-FFF2-40B4-BE49-F238E27FC236}">
                <a16:creationId xmlns:a16="http://schemas.microsoft.com/office/drawing/2014/main" id="{811792CA-E1B6-9EC4-076A-18609CD7D998}"/>
              </a:ext>
            </a:extLst>
          </p:cNvPr>
          <p:cNvSpPr/>
          <p:nvPr/>
        </p:nvSpPr>
        <p:spPr>
          <a:xfrm>
            <a:off x="7690104" y="1197864"/>
            <a:ext cx="237744" cy="1005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01825BEE-E35B-A337-2B6D-73B092E21901}"/>
              </a:ext>
            </a:extLst>
          </p:cNvPr>
          <p:cNvSpPr/>
          <p:nvPr/>
        </p:nvSpPr>
        <p:spPr>
          <a:xfrm>
            <a:off x="10375392" y="1200912"/>
            <a:ext cx="237744" cy="1005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1701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8FpCvdDnI1y33Dc7Hf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Billeder\Imagefotos\AP_Stills_24A7707.j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Billeder\Imagefotos\AP_Stills_24A7924_72dpi.j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Billeder\Imagefotos\AP_Pension_GFX6009_72dpi.j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Billeder\Ikoner\Bordeaux\Spoergsmaal-og-svar.p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AP Pension PowerPoint skabelon">
  <a:themeElements>
    <a:clrScheme name="AP Pension">
      <a:dk1>
        <a:srgbClr val="000000"/>
      </a:dk1>
      <a:lt1>
        <a:srgbClr val="FFFFFF"/>
      </a:lt1>
      <a:dk2>
        <a:srgbClr val="8A3F4C"/>
      </a:dk2>
      <a:lt2>
        <a:srgbClr val="FF4D1D"/>
      </a:lt2>
      <a:accent1>
        <a:srgbClr val="FF4D1D"/>
      </a:accent1>
      <a:accent2>
        <a:srgbClr val="D1E5F6"/>
      </a:accent2>
      <a:accent3>
        <a:srgbClr val="8A3F4C"/>
      </a:accent3>
      <a:accent4>
        <a:srgbClr val="F6CF85"/>
      </a:accent4>
      <a:accent5>
        <a:srgbClr val="2A5A5F"/>
      </a:accent5>
      <a:accent6>
        <a:srgbClr val="A691AB"/>
      </a:accent6>
      <a:hlink>
        <a:srgbClr val="FF4D1D"/>
      </a:hlink>
      <a:folHlink>
        <a:srgbClr val="954F72"/>
      </a:folHlink>
    </a:clrScheme>
    <a:fontScheme name="A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4D1D"/>
        </a:solidFill>
        <a:ln>
          <a:solidFill>
            <a:srgbClr val="8A3F4C"/>
          </a:solidFill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4D1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Custom Color 1">
      <a:srgbClr val="FF4D1D"/>
    </a:custClr>
    <a:custClr name="Custom Color 2">
      <a:srgbClr val="D1E5F6"/>
    </a:custClr>
    <a:custClr name="Custom Color 3">
      <a:srgbClr val="8A3F4C"/>
    </a:custClr>
    <a:custClr name="Custom Color 4">
      <a:srgbClr val="F6CF85"/>
    </a:custClr>
    <a:custClr name="Custom Color 5">
      <a:srgbClr val="2A5A5D"/>
    </a:custClr>
    <a:custClr name="Custom Color 6">
      <a:srgbClr val="A691AB"/>
    </a:custClr>
    <a:custClr name="Custom Color 7">
      <a:srgbClr val="F27D4C"/>
    </a:custClr>
    <a:custClr name="Custom Color 8">
      <a:srgbClr val="317CB9"/>
    </a:custClr>
    <a:custClr name="Custom Color 9">
      <a:srgbClr val="C88692"/>
    </a:custClr>
    <a:custClr name="Custom Color 10">
      <a:srgbClr val="D4900E"/>
    </a:custClr>
    <a:custClr name="Custom Color 11">
      <a:srgbClr val="4FAFBE"/>
    </a:custClr>
    <a:custClr name="Custom Color 12">
      <a:srgbClr val="50255D"/>
    </a:custClr>
  </a:custClrLst>
  <a:extLst>
    <a:ext uri="{05A4C25C-085E-4340-85A3-A5531E510DB2}">
      <thm15:themeFamily xmlns:thm15="http://schemas.microsoft.com/office/thememl/2012/main" name="Blank" id="{C4D7BA60-2483-448F-B3BC-06640011D3B1}" vid="{1B47D0AC-DC96-42DF-AAD2-E035A7235D1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e03879-8ee6-493b-ba31-9f70a8cd239f" xsi:nil="true"/>
    <_ip_UnifiedCompliancePolicyUIAction xmlns="http://schemas.microsoft.com/sharepoint/v3" xsi:nil="true"/>
    <_ip_UnifiedCompliancePolicyProperties xmlns="http://schemas.microsoft.com/sharepoint/v3" xsi:nil="true"/>
    <lcf76f155ced4ddcb4097134ff3c332f xmlns="082b5d64-c726-4036-acf9-b9406327026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4B6B7342CDB2144911D7FC988435D8E" ma:contentTypeVersion="17" ma:contentTypeDescription="Opret et nyt dokument." ma:contentTypeScope="" ma:versionID="c078178e226f82e57d92da1d23f33533">
  <xsd:schema xmlns:xsd="http://www.w3.org/2001/XMLSchema" xmlns:xs="http://www.w3.org/2001/XMLSchema" xmlns:p="http://schemas.microsoft.com/office/2006/metadata/properties" xmlns:ns1="http://schemas.microsoft.com/sharepoint/v3" xmlns:ns2="082b5d64-c726-4036-acf9-b94063270262" xmlns:ns3="ace03879-8ee6-493b-ba31-9f70a8cd239f" targetNamespace="http://schemas.microsoft.com/office/2006/metadata/properties" ma:root="true" ma:fieldsID="3b4718aa5ff675d56312d499e171f777" ns1:_="" ns2:_="" ns3:_="">
    <xsd:import namespace="http://schemas.microsoft.com/sharepoint/v3"/>
    <xsd:import namespace="082b5d64-c726-4036-acf9-b94063270262"/>
    <xsd:import namespace="ace03879-8ee6-493b-ba31-9f70a8cd23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Egenskaber for Unified Compliance Policy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Handling for Unified Compliance Policy-grænseflad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b5d64-c726-4036-acf9-b940632702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Billedmærker" ma:readOnly="false" ma:fieldId="{5cf76f15-5ced-4ddc-b409-7134ff3c332f}" ma:taxonomyMulti="true" ma:sspId="9f139de3-8876-4e15-b55e-3916a8eae29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e03879-8ee6-493b-ba31-9f70a8cd239f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c472cf6d-bdc4-4eb5-9b84-0eb1b10e14c4}" ma:internalName="TaxCatchAll" ma:showField="CatchAllData" ma:web="ace03879-8ee6-493b-ba31-9f70a8cd23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7C92ED-38F7-4537-85FC-E7CBA9438CA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88F60D-B263-4017-9A35-BFF06E39B218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e03879-8ee6-493b-ba31-9f70a8cd239f"/>
    <ds:schemaRef ds:uri="http://purl.org/dc/elements/1.1/"/>
    <ds:schemaRef ds:uri="http://schemas.microsoft.com/office/2006/metadata/properties"/>
    <ds:schemaRef ds:uri="082b5d64-c726-4036-acf9-b9406327026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61BFD13-D932-44DD-B332-529EA29C20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82b5d64-c726-4036-acf9-b94063270262"/>
    <ds:schemaRef ds:uri="ace03879-8ee6-493b-ba31-9f70a8cd23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450da9d8-2bd5-4662-aa74-c622350537e5}" enabled="0" method="" siteId="{450da9d8-2bd5-4662-aa74-c622350537e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92</TotalTime>
  <Words>507</Words>
  <Application>Microsoft Office PowerPoint</Application>
  <PresentationFormat>Widescreen</PresentationFormat>
  <Paragraphs>91</Paragraphs>
  <Slides>12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19" baseType="lpstr">
      <vt:lpstr>Aptos</vt:lpstr>
      <vt:lpstr>Arial</vt:lpstr>
      <vt:lpstr>Calibri</vt:lpstr>
      <vt:lpstr>Gill Sans</vt:lpstr>
      <vt:lpstr>Verdana</vt:lpstr>
      <vt:lpstr>AP Pension PowerPoint skabelon</vt:lpstr>
      <vt:lpstr>think-cell Slide</vt:lpstr>
      <vt:lpstr>AP Life Når I vil fremme mental og fysisk sundhed</vt:lpstr>
      <vt:lpstr>PowerPoint-præsentation</vt:lpstr>
      <vt:lpstr>Hvorfor AP Life og sundhedsfremme?</vt:lpstr>
      <vt:lpstr>Med AP Life får I viden om sundhedstilstanden  i jeres virksomhed inden for 4 hovedområder:  </vt:lpstr>
      <vt:lpstr>Værdi for  jeres medarbejdere</vt:lpstr>
      <vt:lpstr>Værdi for  jeres virksomhed</vt:lpstr>
      <vt:lpstr>Onboarding af AP Life</vt:lpstr>
      <vt:lpstr>Eksempel Virksomhedsrapport </vt:lpstr>
      <vt:lpstr>Eksempel Virksomhedsrapport </vt:lpstr>
      <vt:lpstr>Eksempel Virksomhedsrapport </vt:lpstr>
      <vt:lpstr>Mere information om AP Life</vt:lpstr>
      <vt:lpstr>PowerPoint-præsentation</vt:lpstr>
    </vt:vector>
  </TitlesOfParts>
  <Company>AP Pen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kke Holmegaard Mauritzen</dc:creator>
  <cp:lastModifiedBy>Katrine Sejersen-Permin</cp:lastModifiedBy>
  <cp:revision>6</cp:revision>
  <dcterms:created xsi:type="dcterms:W3CDTF">2024-09-11T10:30:01Z</dcterms:created>
  <dcterms:modified xsi:type="dcterms:W3CDTF">2024-10-31T08:3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B6B7342CDB2144911D7FC988435D8E</vt:lpwstr>
  </property>
  <property fmtid="{D5CDD505-2E9C-101B-9397-08002B2CF9AE}" pid="3" name="MediaServiceImageTags">
    <vt:lpwstr/>
  </property>
</Properties>
</file>